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olors1.xml" ContentType="application/vnd.ms-office.chartcolorstyle+xml"/>
  <Override PartName="/ppt/charts/colors10.xml" ContentType="application/vnd.ms-office.chartcolorstyle+xml"/>
  <Override PartName="/ppt/charts/colors11.xml" ContentType="application/vnd.ms-office.chartcolorstyle+xml"/>
  <Override PartName="/ppt/charts/colors12.xml" ContentType="application/vnd.ms-office.chartcolorstyle+xml"/>
  <Override PartName="/ppt/charts/colors13.xml" ContentType="application/vnd.ms-office.chartcolorstyle+xml"/>
  <Override PartName="/ppt/charts/colors14.xml" ContentType="application/vnd.ms-office.chartcolorstyle+xml"/>
  <Override PartName="/ppt/charts/colors15.xml" ContentType="application/vnd.ms-office.chartcolorstyle+xml"/>
  <Override PartName="/ppt/charts/colors16.xml" ContentType="application/vnd.ms-office.chartcolorstyle+xml"/>
  <Override PartName="/ppt/charts/colors17.xml" ContentType="application/vnd.ms-office.chartcolorstyle+xml"/>
  <Override PartName="/ppt/charts/colors18.xml" ContentType="application/vnd.ms-office.chartcolorstyle+xml"/>
  <Override PartName="/ppt/charts/colors19.xml" ContentType="application/vnd.ms-office.chartcolorstyle+xml"/>
  <Override PartName="/ppt/charts/colors2.xml" ContentType="application/vnd.ms-office.chartcolorstyle+xml"/>
  <Override PartName="/ppt/charts/colors20.xml" ContentType="application/vnd.ms-office.chartcolorstyle+xml"/>
  <Override PartName="/ppt/charts/colors21.xml" ContentType="application/vnd.ms-office.chartcolorstyle+xml"/>
  <Override PartName="/ppt/charts/colors22.xml" ContentType="application/vnd.ms-office.chartcolorstyle+xml"/>
  <Override PartName="/ppt/charts/colors23.xml" ContentType="application/vnd.ms-office.chartcolorstyle+xml"/>
  <Override PartName="/ppt/charts/colors24.xml" ContentType="application/vnd.ms-office.chartcolorstyle+xml"/>
  <Override PartName="/ppt/charts/colors25.xml" ContentType="application/vnd.ms-office.chartcolorstyle+xml"/>
  <Override PartName="/ppt/charts/colors26.xml" ContentType="application/vnd.ms-office.chartcolorstyle+xml"/>
  <Override PartName="/ppt/charts/colors27.xml" ContentType="application/vnd.ms-office.chartcolorstyle+xml"/>
  <Override PartName="/ppt/charts/colors28.xml" ContentType="application/vnd.ms-office.chartcolorstyle+xml"/>
  <Override PartName="/ppt/charts/colors29.xml" ContentType="application/vnd.ms-office.chartcolorstyle+xml"/>
  <Override PartName="/ppt/charts/colors3.xml" ContentType="application/vnd.ms-office.chartcolorstyle+xml"/>
  <Override PartName="/ppt/charts/colors30.xml" ContentType="application/vnd.ms-office.chartcolorstyle+xml"/>
  <Override PartName="/ppt/charts/colors31.xml" ContentType="application/vnd.ms-office.chartcolorstyle+xml"/>
  <Override PartName="/ppt/charts/colors32.xml" ContentType="application/vnd.ms-office.chartcolorstyle+xml"/>
  <Override PartName="/ppt/charts/colors33.xml" ContentType="application/vnd.ms-office.chartcolorstyle+xml"/>
  <Override PartName="/ppt/charts/colors34.xml" ContentType="application/vnd.ms-office.chartcolorstyle+xml"/>
  <Override PartName="/ppt/charts/colors35.xml" ContentType="application/vnd.ms-office.chartcolorstyle+xml"/>
  <Override PartName="/ppt/charts/colors36.xml" ContentType="application/vnd.ms-office.chartcolorstyle+xml"/>
  <Override PartName="/ppt/charts/colors37.xml" ContentType="application/vnd.ms-office.chartcolorstyle+xml"/>
  <Override PartName="/ppt/charts/colors38.xml" ContentType="application/vnd.ms-office.chartcolorstyle+xml"/>
  <Override PartName="/ppt/charts/colors39.xml" ContentType="application/vnd.ms-office.chartcolorstyle+xml"/>
  <Override PartName="/ppt/charts/colors4.xml" ContentType="application/vnd.ms-office.chartcolorstyle+xml"/>
  <Override PartName="/ppt/charts/colors40.xml" ContentType="application/vnd.ms-office.chartcolorstyle+xml"/>
  <Override PartName="/ppt/charts/colors41.xml" ContentType="application/vnd.ms-office.chartcolorstyle+xml"/>
  <Override PartName="/ppt/charts/colors42.xml" ContentType="application/vnd.ms-office.chartcolorstyle+xml"/>
  <Override PartName="/ppt/charts/colors43.xml" ContentType="application/vnd.ms-office.chartcolorstyle+xml"/>
  <Override PartName="/ppt/charts/colors44.xml" ContentType="application/vnd.ms-office.chartcolorstyle+xml"/>
  <Override PartName="/ppt/charts/colors45.xml" ContentType="application/vnd.ms-office.chartcolorstyle+xml"/>
  <Override PartName="/ppt/charts/colors46.xml" ContentType="application/vnd.ms-office.chartcolorstyle+xml"/>
  <Override PartName="/ppt/charts/colors47.xml" ContentType="application/vnd.ms-office.chartcolorstyle+xml"/>
  <Override PartName="/ppt/charts/colors48.xml" ContentType="application/vnd.ms-office.chartcolorstyle+xml"/>
  <Override PartName="/ppt/charts/colors5.xml" ContentType="application/vnd.ms-office.chartcolorstyle+xml"/>
  <Override PartName="/ppt/charts/colors6.xml" ContentType="application/vnd.ms-office.chartcolorstyle+xml"/>
  <Override PartName="/ppt/charts/colors7.xml" ContentType="application/vnd.ms-office.chartcolorstyle+xml"/>
  <Override PartName="/ppt/charts/colors8.xml" ContentType="application/vnd.ms-office.chartcolorstyle+xml"/>
  <Override PartName="/ppt/charts/colors9.xml" ContentType="application/vnd.ms-office.chartcolorstyle+xml"/>
  <Override PartName="/ppt/charts/style1.xml" ContentType="application/vnd.ms-office.chartstyle+xml"/>
  <Override PartName="/ppt/charts/style10.xml" ContentType="application/vnd.ms-office.chartstyle+xml"/>
  <Override PartName="/ppt/charts/style11.xml" ContentType="application/vnd.ms-office.chartstyle+xml"/>
  <Override PartName="/ppt/charts/style12.xml" ContentType="application/vnd.ms-office.chartstyle+xml"/>
  <Override PartName="/ppt/charts/style13.xml" ContentType="application/vnd.ms-office.chartstyle+xml"/>
  <Override PartName="/ppt/charts/style14.xml" ContentType="application/vnd.ms-office.chartstyle+xml"/>
  <Override PartName="/ppt/charts/style15.xml" ContentType="application/vnd.ms-office.chartstyle+xml"/>
  <Override PartName="/ppt/charts/style16.xml" ContentType="application/vnd.ms-office.chartstyle+xml"/>
  <Override PartName="/ppt/charts/style17.xml" ContentType="application/vnd.ms-office.chartstyle+xml"/>
  <Override PartName="/ppt/charts/style18.xml" ContentType="application/vnd.ms-office.chartstyle+xml"/>
  <Override PartName="/ppt/charts/style19.xml" ContentType="application/vnd.ms-office.chartstyle+xml"/>
  <Override PartName="/ppt/charts/style2.xml" ContentType="application/vnd.ms-office.chartstyle+xml"/>
  <Override PartName="/ppt/charts/style20.xml" ContentType="application/vnd.ms-office.chartstyle+xml"/>
  <Override PartName="/ppt/charts/style21.xml" ContentType="application/vnd.ms-office.chartstyle+xml"/>
  <Override PartName="/ppt/charts/style22.xml" ContentType="application/vnd.ms-office.chartstyle+xml"/>
  <Override PartName="/ppt/charts/style23.xml" ContentType="application/vnd.ms-office.chartstyle+xml"/>
  <Override PartName="/ppt/charts/style24.xml" ContentType="application/vnd.ms-office.chartstyle+xml"/>
  <Override PartName="/ppt/charts/style25.xml" ContentType="application/vnd.ms-office.chartstyle+xml"/>
  <Override PartName="/ppt/charts/style26.xml" ContentType="application/vnd.ms-office.chartstyle+xml"/>
  <Override PartName="/ppt/charts/style27.xml" ContentType="application/vnd.ms-office.chartstyle+xml"/>
  <Override PartName="/ppt/charts/style28.xml" ContentType="application/vnd.ms-office.chartstyle+xml"/>
  <Override PartName="/ppt/charts/style29.xml" ContentType="application/vnd.ms-office.chartstyle+xml"/>
  <Override PartName="/ppt/charts/style3.xml" ContentType="application/vnd.ms-office.chartstyle+xml"/>
  <Override PartName="/ppt/charts/style30.xml" ContentType="application/vnd.ms-office.chartstyle+xml"/>
  <Override PartName="/ppt/charts/style31.xml" ContentType="application/vnd.ms-office.chartstyle+xml"/>
  <Override PartName="/ppt/charts/style32.xml" ContentType="application/vnd.ms-office.chartstyle+xml"/>
  <Override PartName="/ppt/charts/style33.xml" ContentType="application/vnd.ms-office.chartstyle+xml"/>
  <Override PartName="/ppt/charts/style34.xml" ContentType="application/vnd.ms-office.chartstyle+xml"/>
  <Override PartName="/ppt/charts/style35.xml" ContentType="application/vnd.ms-office.chartstyle+xml"/>
  <Override PartName="/ppt/charts/style36.xml" ContentType="application/vnd.ms-office.chartstyle+xml"/>
  <Override PartName="/ppt/charts/style37.xml" ContentType="application/vnd.ms-office.chartstyle+xml"/>
  <Override PartName="/ppt/charts/style38.xml" ContentType="application/vnd.ms-office.chartstyle+xml"/>
  <Override PartName="/ppt/charts/style39.xml" ContentType="application/vnd.ms-office.chartstyle+xml"/>
  <Override PartName="/ppt/charts/style4.xml" ContentType="application/vnd.ms-office.chartstyle+xml"/>
  <Override PartName="/ppt/charts/style40.xml" ContentType="application/vnd.ms-office.chartstyle+xml"/>
  <Override PartName="/ppt/charts/style41.xml" ContentType="application/vnd.ms-office.chartstyle+xml"/>
  <Override PartName="/ppt/charts/style42.xml" ContentType="application/vnd.ms-office.chartstyle+xml"/>
  <Override PartName="/ppt/charts/style43.xml" ContentType="application/vnd.ms-office.chartstyle+xml"/>
  <Override PartName="/ppt/charts/style44.xml" ContentType="application/vnd.ms-office.chartstyle+xml"/>
  <Override PartName="/ppt/charts/style45.xml" ContentType="application/vnd.ms-office.chartstyle+xml"/>
  <Override PartName="/ppt/charts/style46.xml" ContentType="application/vnd.ms-office.chartstyle+xml"/>
  <Override PartName="/ppt/charts/style47.xml" ContentType="application/vnd.ms-office.chartstyle+xml"/>
  <Override PartName="/ppt/charts/style48.xml" ContentType="application/vnd.ms-office.chartstyle+xml"/>
  <Override PartName="/ppt/charts/style5.xml" ContentType="application/vnd.ms-office.chartstyle+xml"/>
  <Override PartName="/ppt/charts/style6.xml" ContentType="application/vnd.ms-office.chartstyle+xml"/>
  <Override PartName="/ppt/charts/style7.xml" ContentType="application/vnd.ms-office.chartstyle+xml"/>
  <Override PartName="/ppt/charts/style8.xml" ContentType="application/vnd.ms-office.chartstyle+xml"/>
  <Override PartName="/ppt/charts/style9.xml" ContentType="application/vnd.ms-office.chartstyle+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53"/>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 id="2147477395" r:id="rId35"/>
    <p:sldId id="2147477396" r:id="rId36"/>
    <p:sldId id="2147477397" r:id="rId37"/>
    <p:sldId id="2147477398" r:id="rId38"/>
    <p:sldId id="2147477399" r:id="rId39"/>
    <p:sldId id="2147477400" r:id="rId40"/>
    <p:sldId id="2147477401" r:id="rId41"/>
    <p:sldId id="2147477402" r:id="rId42"/>
    <p:sldId id="2147477403" r:id="rId43"/>
    <p:sldId id="2147477404" r:id="rId44"/>
    <p:sldId id="2147477405" r:id="rId45"/>
    <p:sldId id="2147477406" r:id="rId46"/>
    <p:sldId id="2147477407" r:id="rId47"/>
    <p:sldId id="2147477408" r:id="rId48"/>
    <p:sldId id="2147477409" r:id="rId49"/>
    <p:sldId id="2147477410" r:id="rId50"/>
    <p:sldId id="2147477411" r:id="rId51"/>
    <p:sldId id="2147477412" r:id="rId52"/>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Sector Avg Price/Vol Comparison" id="{F00FD060-BE2B-4E9B-991E-8FAD4E4595C0}">
          <p14:sldIdLst>
            <p14:sldId id="2147477365"/>
            <p14:sldId id="2147477366"/>
            <p14:sldId id="2147477367"/>
            <p14:sldId id="2147477368"/>
            <p14:sldId id="2147477369"/>
            <p14:sldId id="2147477370"/>
            <p14:sldId id="2147477371"/>
            <p14:sldId id="2147477372"/>
            <p14:sldId id="2147477373"/>
            <p14:sldId id="2147477374"/>
            <p14:sldId id="2147477375"/>
            <p14:sldId id="2147477376"/>
          </p14:sldIdLst>
        </p14:section>
        <p14:section name="Sector Shelf Price/Vol Comparison" id="{BD45E944-8FAB-49A9-9653-48540DDE520D}">
          <p14:sldIdLst>
            <p14:sldId id="2147477377"/>
            <p14:sldId id="2147477378"/>
            <p14:sldId id="2147477379"/>
            <p14:sldId id="2147477380"/>
            <p14:sldId id="2147477381"/>
            <p14:sldId id="2147477382"/>
            <p14:sldId id="2147477383"/>
            <p14:sldId id="2147477384"/>
            <p14:sldId id="2147477385"/>
            <p14:sldId id="2147477386"/>
            <p14:sldId id="2147477387"/>
            <p14:sldId id="2147477388"/>
          </p14:sldIdLst>
        </p14:section>
        <p14:section name="Segment Avg Price/Vol Comparison" id="{953CF93E-21CE-4126-B9A7-B996987C3DA3}">
          <p14:sldIdLst>
            <p14:sldId id="2147477389"/>
            <p14:sldId id="2147477390"/>
            <p14:sldId id="2147477391"/>
            <p14:sldId id="2147477392"/>
            <p14:sldId id="2147477393"/>
            <p14:sldId id="2147477394"/>
            <p14:sldId id="2147477395"/>
            <p14:sldId id="2147477396"/>
            <p14:sldId id="2147477397"/>
            <p14:sldId id="2147477398"/>
            <p14:sldId id="2147477399"/>
            <p14:sldId id="2147477400"/>
          </p14:sldIdLst>
        </p14:section>
        <p14:section name="Segment Shelf Price/Vol Comparison" id="{1A8D1CED-64C2-4076-A334-FB3C8D02BFC8}">
          <p14:sldIdLst>
            <p14:sldId id="2147477401"/>
            <p14:sldId id="2147477402"/>
            <p14:sldId id="2147477403"/>
            <p14:sldId id="2147477404"/>
            <p14:sldId id="2147477405"/>
            <p14:sldId id="2147477406"/>
            <p14:sldId id="2147477407"/>
            <p14:sldId id="2147477408"/>
            <p14:sldId id="2147477409"/>
            <p14:sldId id="2147477410"/>
            <p14:sldId id="2147477411"/>
            <p14:sldId id="2147477412"/>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00000"/>
    <a:srgbClr val="00A097"/>
    <a:srgbClr val="006C6D"/>
    <a:srgbClr val="99CC00"/>
    <a:srgbClr val="CCFF66"/>
    <a:srgbClr val="99EA16"/>
    <a:srgbClr val="AEABAB"/>
    <a:srgbClr val="BCBBBB"/>
    <a:srgbClr val="7ECAC4"/>
    <a:srgbClr val="CFCEC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0" d="100"/>
          <a:sy n="60" d="100"/>
        </p:scale>
        <p:origin x="72" y="270"/>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50" Type="http://schemas.openxmlformats.org/officeDocument/2006/relationships/slide" Target="slides/slide46.xml"/><Relationship Id="rId51" Type="http://schemas.openxmlformats.org/officeDocument/2006/relationships/slide" Target="slides/slide47.xml"/><Relationship Id="rId52" Type="http://schemas.openxmlformats.org/officeDocument/2006/relationships/slide" Target="slides/slide48.xml"/><Relationship Id="rId53" Type="http://schemas.openxmlformats.org/officeDocument/2006/relationships/notesMaster" Target="notesMasters/notesMaster1.xml"/><Relationship Id="rId54" Type="http://schemas.openxmlformats.org/officeDocument/2006/relationships/presProps" Target="presProps.xml"/><Relationship Id="rId55" Type="http://schemas.openxmlformats.org/officeDocument/2006/relationships/viewProps" Target="viewProps.xml"/><Relationship Id="rId56" Type="http://schemas.openxmlformats.org/officeDocument/2006/relationships/theme" Target="theme/theme1.xml"/><Relationship Id="rId57" Type="http://schemas.openxmlformats.org/officeDocument/2006/relationships/tableStyles" Target="tableStyles.xml"/><Relationship Id="rId58"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microsoft.com/office/2011/relationships/chartStyle" Target="style1.xml"/><Relationship Id="rId2" Type="http://schemas.microsoft.com/office/2011/relationships/chartColorStyle" Target="colors1.xml"/><Relationship Id="rId3"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microsoft.com/office/2011/relationships/chartStyle" Target="style10.xml"/><Relationship Id="rId2" Type="http://schemas.microsoft.com/office/2011/relationships/chartColorStyle" Target="colors10.xml"/><Relationship Id="rId3"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microsoft.com/office/2011/relationships/chartStyle" Target="style11.xml"/><Relationship Id="rId2" Type="http://schemas.microsoft.com/office/2011/relationships/chartColorStyle" Target="colors11.xml"/><Relationship Id="rId3"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microsoft.com/office/2011/relationships/chartStyle" Target="style12.xml"/><Relationship Id="rId2" Type="http://schemas.microsoft.com/office/2011/relationships/chartColorStyle" Target="colors12.xml"/><Relationship Id="rId3"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microsoft.com/office/2011/relationships/chartStyle" Target="style13.xml"/><Relationship Id="rId2" Type="http://schemas.microsoft.com/office/2011/relationships/chartColorStyle" Target="colors13.xml"/><Relationship Id="rId3"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microsoft.com/office/2011/relationships/chartStyle" Target="style14.xml"/><Relationship Id="rId2" Type="http://schemas.microsoft.com/office/2011/relationships/chartColorStyle" Target="colors14.xml"/><Relationship Id="rId3"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microsoft.com/office/2011/relationships/chartStyle" Target="style15.xml"/><Relationship Id="rId2" Type="http://schemas.microsoft.com/office/2011/relationships/chartColorStyle" Target="colors15.xml"/><Relationship Id="rId3"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microsoft.com/office/2011/relationships/chartStyle" Target="style16.xml"/><Relationship Id="rId2" Type="http://schemas.microsoft.com/office/2011/relationships/chartColorStyle" Target="colors16.xml"/><Relationship Id="rId3"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microsoft.com/office/2011/relationships/chartStyle" Target="style17.xml"/><Relationship Id="rId2" Type="http://schemas.microsoft.com/office/2011/relationships/chartColorStyle" Target="colors17.xml"/><Relationship Id="rId3"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microsoft.com/office/2011/relationships/chartStyle" Target="style18.xml"/><Relationship Id="rId2" Type="http://schemas.microsoft.com/office/2011/relationships/chartColorStyle" Target="colors18.xml"/><Relationship Id="rId3"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microsoft.com/office/2011/relationships/chartStyle" Target="style19.xml"/><Relationship Id="rId2" Type="http://schemas.microsoft.com/office/2011/relationships/chartColorStyle" Target="colors19.xml"/><Relationship Id="rId3"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microsoft.com/office/2011/relationships/chartStyle" Target="style2.xml"/><Relationship Id="rId2" Type="http://schemas.microsoft.com/office/2011/relationships/chartColorStyle" Target="colors2.xml"/><Relationship Id="rId3"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microsoft.com/office/2011/relationships/chartStyle" Target="style20.xml"/><Relationship Id="rId2" Type="http://schemas.microsoft.com/office/2011/relationships/chartColorStyle" Target="colors20.xml"/><Relationship Id="rId3"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microsoft.com/office/2011/relationships/chartStyle" Target="style21.xml"/><Relationship Id="rId2" Type="http://schemas.microsoft.com/office/2011/relationships/chartColorStyle" Target="colors21.xml"/><Relationship Id="rId3"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microsoft.com/office/2011/relationships/chartStyle" Target="style22.xml"/><Relationship Id="rId2" Type="http://schemas.microsoft.com/office/2011/relationships/chartColorStyle" Target="colors22.xml"/><Relationship Id="rId3"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microsoft.com/office/2011/relationships/chartStyle" Target="style23.xml"/><Relationship Id="rId2" Type="http://schemas.microsoft.com/office/2011/relationships/chartColorStyle" Target="colors23.xml"/><Relationship Id="rId3"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microsoft.com/office/2011/relationships/chartStyle" Target="style24.xml"/><Relationship Id="rId2" Type="http://schemas.microsoft.com/office/2011/relationships/chartColorStyle" Target="colors24.xml"/><Relationship Id="rId3"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microsoft.com/office/2011/relationships/chartStyle" Target="style25.xml"/><Relationship Id="rId2" Type="http://schemas.microsoft.com/office/2011/relationships/chartColorStyle" Target="colors25.xml"/><Relationship Id="rId3"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microsoft.com/office/2011/relationships/chartStyle" Target="style26.xml"/><Relationship Id="rId2" Type="http://schemas.microsoft.com/office/2011/relationships/chartColorStyle" Target="colors26.xml"/><Relationship Id="rId3"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microsoft.com/office/2011/relationships/chartStyle" Target="style27.xml"/><Relationship Id="rId2" Type="http://schemas.microsoft.com/office/2011/relationships/chartColorStyle" Target="colors27.xml"/><Relationship Id="rId3"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microsoft.com/office/2011/relationships/chartStyle" Target="style28.xml"/><Relationship Id="rId2" Type="http://schemas.microsoft.com/office/2011/relationships/chartColorStyle" Target="colors28.xml"/><Relationship Id="rId3"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microsoft.com/office/2011/relationships/chartStyle" Target="style29.xml"/><Relationship Id="rId2" Type="http://schemas.microsoft.com/office/2011/relationships/chartColorStyle" Target="colors29.xml"/><Relationship Id="rId3"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microsoft.com/office/2011/relationships/chartStyle" Target="style3.xml"/><Relationship Id="rId2" Type="http://schemas.microsoft.com/office/2011/relationships/chartColorStyle" Target="colors3.xml"/><Relationship Id="rId3"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microsoft.com/office/2011/relationships/chartStyle" Target="style30.xml"/><Relationship Id="rId2" Type="http://schemas.microsoft.com/office/2011/relationships/chartColorStyle" Target="colors30.xml"/><Relationship Id="rId3"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microsoft.com/office/2011/relationships/chartStyle" Target="style31.xml"/><Relationship Id="rId2" Type="http://schemas.microsoft.com/office/2011/relationships/chartColorStyle" Target="colors31.xml"/><Relationship Id="rId3"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microsoft.com/office/2011/relationships/chartStyle" Target="style32.xml"/><Relationship Id="rId2" Type="http://schemas.microsoft.com/office/2011/relationships/chartColorStyle" Target="colors32.xml"/><Relationship Id="rId3"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microsoft.com/office/2011/relationships/chartStyle" Target="style33.xml"/><Relationship Id="rId2" Type="http://schemas.microsoft.com/office/2011/relationships/chartColorStyle" Target="colors33.xml"/><Relationship Id="rId3"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microsoft.com/office/2011/relationships/chartStyle" Target="style34.xml"/><Relationship Id="rId2" Type="http://schemas.microsoft.com/office/2011/relationships/chartColorStyle" Target="colors34.xml"/><Relationship Id="rId3"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microsoft.com/office/2011/relationships/chartStyle" Target="style35.xml"/><Relationship Id="rId2" Type="http://schemas.microsoft.com/office/2011/relationships/chartColorStyle" Target="colors35.xml"/><Relationship Id="rId3"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microsoft.com/office/2011/relationships/chartStyle" Target="style36.xml"/><Relationship Id="rId2" Type="http://schemas.microsoft.com/office/2011/relationships/chartColorStyle" Target="colors36.xml"/><Relationship Id="rId3"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microsoft.com/office/2011/relationships/chartStyle" Target="style37.xml"/><Relationship Id="rId2" Type="http://schemas.microsoft.com/office/2011/relationships/chartColorStyle" Target="colors37.xml"/><Relationship Id="rId3"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microsoft.com/office/2011/relationships/chartStyle" Target="style38.xml"/><Relationship Id="rId2" Type="http://schemas.microsoft.com/office/2011/relationships/chartColorStyle" Target="colors38.xml"/><Relationship Id="rId3"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microsoft.com/office/2011/relationships/chartStyle" Target="style39.xml"/><Relationship Id="rId2" Type="http://schemas.microsoft.com/office/2011/relationships/chartColorStyle" Target="colors39.xml"/><Relationship Id="rId3"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microsoft.com/office/2011/relationships/chartStyle" Target="style4.xml"/><Relationship Id="rId2" Type="http://schemas.microsoft.com/office/2011/relationships/chartColorStyle" Target="colors4.xml"/><Relationship Id="rId3"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microsoft.com/office/2011/relationships/chartStyle" Target="style40.xml"/><Relationship Id="rId2" Type="http://schemas.microsoft.com/office/2011/relationships/chartColorStyle" Target="colors40.xml"/><Relationship Id="rId3"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microsoft.com/office/2011/relationships/chartStyle" Target="style41.xml"/><Relationship Id="rId2" Type="http://schemas.microsoft.com/office/2011/relationships/chartColorStyle" Target="colors41.xml"/><Relationship Id="rId3"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microsoft.com/office/2011/relationships/chartStyle" Target="style42.xml"/><Relationship Id="rId2" Type="http://schemas.microsoft.com/office/2011/relationships/chartColorStyle" Target="colors42.xml"/><Relationship Id="rId3"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microsoft.com/office/2011/relationships/chartStyle" Target="style43.xml"/><Relationship Id="rId2" Type="http://schemas.microsoft.com/office/2011/relationships/chartColorStyle" Target="colors43.xml"/><Relationship Id="rId3"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microsoft.com/office/2011/relationships/chartStyle" Target="style44.xml"/><Relationship Id="rId2" Type="http://schemas.microsoft.com/office/2011/relationships/chartColorStyle" Target="colors44.xml"/><Relationship Id="rId3"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microsoft.com/office/2011/relationships/chartStyle" Target="style45.xml"/><Relationship Id="rId2" Type="http://schemas.microsoft.com/office/2011/relationships/chartColorStyle" Target="colors45.xml"/><Relationship Id="rId3"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microsoft.com/office/2011/relationships/chartStyle" Target="style46.xml"/><Relationship Id="rId2" Type="http://schemas.microsoft.com/office/2011/relationships/chartColorStyle" Target="colors46.xml"/><Relationship Id="rId3"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microsoft.com/office/2011/relationships/chartStyle" Target="style47.xml"/><Relationship Id="rId2" Type="http://schemas.microsoft.com/office/2011/relationships/chartColorStyle" Target="colors47.xml"/><Relationship Id="rId3"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microsoft.com/office/2011/relationships/chartStyle" Target="style48.xml"/><Relationship Id="rId2" Type="http://schemas.microsoft.com/office/2011/relationships/chartColorStyle" Target="colors48.xml"/><Relationship Id="rId3" Type="http://schemas.openxmlformats.org/officeDocument/2006/relationships/package" Target="../embeddings/Microsoft_Excel_Worksheet47.xlsx"/></Relationships>
</file>

<file path=ppt/charts/_rels/chart5.xml.rels><?xml version='1.0' encoding='UTF-8' standalone='yes'?>
<Relationships xmlns="http://schemas.openxmlformats.org/package/2006/relationships"><Relationship Id="rId1" Type="http://schemas.microsoft.com/office/2011/relationships/chartStyle" Target="style5.xml"/><Relationship Id="rId2" Type="http://schemas.microsoft.com/office/2011/relationships/chartColorStyle" Target="colors5.xml"/><Relationship Id="rId3"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microsoft.com/office/2011/relationships/chartStyle" Target="style6.xml"/><Relationship Id="rId2" Type="http://schemas.microsoft.com/office/2011/relationships/chartColorStyle" Target="colors6.xml"/><Relationship Id="rId3"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microsoft.com/office/2011/relationships/chartStyle" Target="style7.xml"/><Relationship Id="rId2" Type="http://schemas.microsoft.com/office/2011/relationships/chartColorStyle" Target="colors7.xml"/><Relationship Id="rId3"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microsoft.com/office/2011/relationships/chartStyle" Target="style8.xml"/><Relationship Id="rId2" Type="http://schemas.microsoft.com/office/2011/relationships/chartColorStyle" Target="colors8.xml"/><Relationship Id="rId3"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microsoft.com/office/2011/relationships/chartStyle" Target="style9.xml"/><Relationship Id="rId2" Type="http://schemas.microsoft.com/office/2011/relationships/chartColorStyle" Target="colors9.xml"/><Relationship Id="rId3"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36</c:v>
                </c:pt>
                <c:pt idx="1">
                  <c:v>IX 100</c:v>
                </c:pt>
                <c:pt idx="2">
                  <c:v>IX 174</c:v>
                </c:pt>
              </c:strCache>
            </c:strRef>
          </c:cat>
          <c:val>
            <c:numRef>
              <c:f>Sheet1!$B$2:$B$4</c:f>
              <c:numCache>
                <c:formatCode>General</c:formatCode>
                <c:ptCount val="3"/>
                <c:pt idx="0">
                  <c:v>11.56</c:v>
                </c:pt>
                <c:pt idx="1">
                  <c:v>19.86</c:v>
                </c:pt>
                <c:pt idx="2">
                  <c:v>7.7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36</a:t>
                    </a:r>
                  </a:p>
                  <a:p>
                    <a:r>
                      <a:t>13.5</a:t>
                    </a:r>
                  </a:p>
                </c:rich>
              </c:tx>
              <c:dLblPos val="l"/>
              <c:showLegendKey val="0"/>
              <c:showVal val="1"/>
              <c:showCatName val="0"/>
              <c:showSerName val="0"/>
              <c:showPercent val="0"/>
              <c:showBubbleSize val="0"/>
            </c:dLbl>
            <c:dLbl>
              <c:idx val="1"/>
              <c:tx>
                <c:rich>
                  <a:bodyPr/>
                  <a:lstStyle/>
                  <a:p>
                    <a:r>
                      <a:t>IX 100</a:t>
                    </a:r>
                  </a:p>
                  <a:p>
                    <a:r>
                      <a:t>18.55</a:t>
                    </a:r>
                  </a:p>
                </c:rich>
              </c:tx>
              <c:dLblPos val="l"/>
              <c:showLegendKey val="0"/>
              <c:showVal val="1"/>
              <c:showCatName val="0"/>
              <c:showSerName val="0"/>
              <c:showPercent val="0"/>
              <c:showBubbleSize val="0"/>
            </c:dLbl>
            <c:dLbl>
              <c:idx val="2"/>
              <c:tx>
                <c:rich>
                  <a:bodyPr/>
                  <a:lstStyle/>
                  <a:p>
                    <a:r>
                      <a:t>IX 174</a:t>
                    </a:r>
                  </a:p>
                  <a:p>
                    <a:r>
                      <a:t>11.2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36</c:v>
                </c:pt>
                <c:pt idx="1">
                  <c:v>IX 100</c:v>
                </c:pt>
                <c:pt idx="2">
                  <c:v>IX 174</c:v>
                </c:pt>
              </c:strCache>
            </c:strRef>
          </c:cat>
          <c:val>
            <c:numRef>
              <c:f>Sheet1!$C$2:$C$4</c:f>
              <c:numCache>
                <c:formatCode>General</c:formatCode>
                <c:ptCount val="3"/>
                <c:pt idx="0">
                  <c:v>13.5</c:v>
                </c:pt>
                <c:pt idx="1">
                  <c:v>18.55</c:v>
                </c:pt>
                <c:pt idx="2">
                  <c:v>11.2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dd</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36</c:v>
                </c:pt>
                <c:pt idx="1">
                  <c:v>IX 100</c:v>
                </c:pt>
                <c:pt idx="2">
                  <c:v>IX 174</c:v>
                </c:pt>
              </c:strCache>
            </c:strRef>
          </c:cat>
          <c:val>
            <c:numRef>
              <c:f>Sheet1!$D$2:$D$4</c:f>
              <c:numCache>
                <c:formatCode>General</c:formatCode>
                <c:ptCount val="3"/>
                <c:pt idx="0">
                  <c:v>9.9</c:v>
                </c:pt>
                <c:pt idx="1">
                  <c:v>25.94</c:v>
                </c:pt>
                <c:pt idx="2">
                  <c:v>6.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ctali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36</c:v>
                </c:pt>
                <c:pt idx="1">
                  <c:v>IX 100</c:v>
                </c:pt>
                <c:pt idx="2">
                  <c:v>IX 174</c:v>
                </c:pt>
              </c:strCache>
            </c:strRef>
          </c:cat>
          <c:val>
            <c:numRef>
              <c:f>Sheet1!$E$2:$E$4</c:f>
              <c:numCache>
                <c:formatCode>General</c:formatCode>
                <c:ptCount val="3"/>
                <c:pt idx="0">
                  <c:v>11.99</c:v>
                </c:pt>
                <c:pt idx="1">
                  <c:v>33.65</c:v>
                </c:pt>
                <c:pt idx="2">
                  <c:v>9.0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es Mousquetaire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36</c:v>
                </c:pt>
                <c:pt idx="1">
                  <c:v>IX 100</c:v>
                </c:pt>
                <c:pt idx="2">
                  <c:v>IX 174</c:v>
                </c:pt>
              </c:strCache>
            </c:strRef>
          </c:cat>
          <c:val>
            <c:numRef>
              <c:f>Sheet1!$F$2:$F$4</c:f>
              <c:numCache>
                <c:formatCode>General</c:formatCode>
                <c:ptCount val="3"/>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4.1547"/>
          <c:min val="5.997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36</c:v>
                </c:pt>
                <c:pt idx="1">
                  <c:v/>
                </c:pt>
                <c:pt idx="2">
                  <c:v/>
                </c:pt>
              </c:strCache>
            </c:strRef>
          </c:cat>
          <c:val>
            <c:numRef>
              <c:f>Sheet1!$B$2:$B$4</c:f>
              <c:numCache>
                <c:formatCode>General</c:formatCode>
                <c:ptCount val="3"/>
                <c:pt idx="0">
                  <c:v>11.57</c:v>
                </c:pt>
                <c:pt idx="1">
                  <c:v>20.26</c:v>
                </c:pt>
                <c:pt idx="2">
                  <c:v>7.7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Kiri</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36</a:t>
                    </a:r>
                  </a:p>
                  <a:p>
                    <a:r>
                      <a:t>13.31</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36</c:v>
                </c:pt>
                <c:pt idx="1">
                  <c:v/>
                </c:pt>
                <c:pt idx="2">
                  <c:v/>
                </c:pt>
              </c:strCache>
            </c:strRef>
          </c:cat>
          <c:val>
            <c:numRef>
              <c:f>Sheet1!$C$2:$C$4</c:f>
              <c:numCache>
                <c:formatCode>General</c:formatCode>
                <c:ptCount val="3"/>
                <c:pt idx="0">
                  <c:v>13.3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36</c:v>
                </c:pt>
                <c:pt idx="1">
                  <c:v/>
                </c:pt>
                <c:pt idx="2">
                  <c:v/>
                </c:pt>
              </c:strCache>
            </c:strRef>
          </c:cat>
          <c:val>
            <c:numRef>
              <c:f>Sheet1!$D$2:$D$4</c:f>
              <c:numCache>
                <c:formatCode>General</c:formatCode>
                <c:ptCount val="3"/>
                <c:pt idx="0">
                  <c:v>9.8</c:v>
                </c:pt>
                <c:pt idx="1">
                  <c:v>19.78</c:v>
                </c:pt>
                <c:pt idx="2">
                  <c:v>6.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Paturage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36</c:v>
                </c:pt>
                <c:pt idx="1">
                  <c:v/>
                </c:pt>
                <c:pt idx="2">
                  <c:v/>
                </c:pt>
              </c:strCache>
            </c:strRef>
          </c:cat>
          <c:val>
            <c:numRef>
              <c:f>Sheet1!$E$2:$E$4</c:f>
              <c:numCache>
                <c:formatCode>General</c:formatCode>
                <c:ptCount val="3"/>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Top Budget</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36</c:v>
                </c:pt>
                <c:pt idx="1">
                  <c:v/>
                </c:pt>
                <c:pt idx="2">
                  <c:v/>
                </c:pt>
              </c:strCache>
            </c:strRef>
          </c:cat>
          <c:val>
            <c:numRef>
              <c:f>Sheet1!$F$2:$F$4</c:f>
              <c:numCache>
                <c:formatCode>General</c:formatCode>
                <c:ptCount val="3"/>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7576"/>
          <c:min val="5.998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15</c:v>
                </c:pt>
                <c:pt idx="1">
                  <c:v/>
                </c:pt>
                <c:pt idx="2">
                  <c:v>IX 103</c:v>
                </c:pt>
              </c:strCache>
            </c:strRef>
          </c:cat>
          <c:val>
            <c:numRef>
              <c:f>Sheet1!$B$2:$B$4</c:f>
              <c:numCache>
                <c:formatCode>General</c:formatCode>
                <c:ptCount val="3"/>
                <c:pt idx="0">
                  <c:v>11.57</c:v>
                </c:pt>
                <c:pt idx="1">
                  <c:v>20.26</c:v>
                </c:pt>
                <c:pt idx="2">
                  <c:v>7.7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La Vache Qui Ri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15</a:t>
                    </a:r>
                  </a:p>
                  <a:p>
                    <a:r>
                      <a:t>11.27</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3</a:t>
                    </a:r>
                  </a:p>
                  <a:p>
                    <a:r>
                      <a:t>6.71</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15</c:v>
                </c:pt>
                <c:pt idx="1">
                  <c:v/>
                </c:pt>
                <c:pt idx="2">
                  <c:v>IX 103</c:v>
                </c:pt>
              </c:strCache>
            </c:strRef>
          </c:cat>
          <c:val>
            <c:numRef>
              <c:f>Sheet1!$C$2:$C$4</c:f>
              <c:numCache>
                <c:formatCode>General</c:formatCode>
                <c:ptCount val="3"/>
                <c:pt idx="0">
                  <c:v>11.27</c:v>
                </c:pt>
                <c:pt idx="2">
                  <c:v>6.7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15</c:v>
                </c:pt>
                <c:pt idx="1">
                  <c:v/>
                </c:pt>
                <c:pt idx="2">
                  <c:v>IX 103</c:v>
                </c:pt>
              </c:strCache>
            </c:strRef>
          </c:cat>
          <c:val>
            <c:numRef>
              <c:f>Sheet1!$D$2:$D$4</c:f>
              <c:numCache>
                <c:formatCode>General</c:formatCode>
                <c:ptCount val="3"/>
                <c:pt idx="0">
                  <c:v>9.8</c:v>
                </c:pt>
                <c:pt idx="1">
                  <c:v>19.78</c:v>
                </c:pt>
                <c:pt idx="2">
                  <c:v>6.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Top Budget</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15</c:v>
                </c:pt>
                <c:pt idx="1">
                  <c:v/>
                </c:pt>
                <c:pt idx="2">
                  <c:v>IX 103</c:v>
                </c:pt>
              </c:strCache>
            </c:strRef>
          </c:cat>
          <c:val>
            <c:numRef>
              <c:f>Sheet1!$E$2:$E$4</c:f>
              <c:numCache>
                <c:formatCode>General</c:formatCode>
                <c:ptCount val="3"/>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Paturage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15</c:v>
                </c:pt>
                <c:pt idx="1">
                  <c:v/>
                </c:pt>
                <c:pt idx="2">
                  <c:v>IX 103</c:v>
                </c:pt>
              </c:strCache>
            </c:strRef>
          </c:cat>
          <c:val>
            <c:numRef>
              <c:f>Sheet1!$F$2:$F$4</c:f>
              <c:numCache>
                <c:formatCode>General</c:formatCode>
                <c:ptCount val="3"/>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7576"/>
          <c:min val="5.998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5</c:v>
                </c:pt>
                <c:pt idx="1">
                  <c:v>IX 100</c:v>
                </c:pt>
                <c:pt idx="2">
                  <c:v>IX 174</c:v>
                </c:pt>
              </c:strCache>
            </c:strRef>
          </c:cat>
          <c:val>
            <c:numRef>
              <c:f>Sheet1!$B$2:$B$4</c:f>
              <c:numCache>
                <c:formatCode>General</c:formatCode>
                <c:ptCount val="3"/>
                <c:pt idx="0">
                  <c:v>11.57</c:v>
                </c:pt>
                <c:pt idx="1">
                  <c:v>20.26</c:v>
                </c:pt>
                <c:pt idx="2">
                  <c:v>7.7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oursi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65</a:t>
                    </a:r>
                  </a:p>
                  <a:p>
                    <a:r>
                      <a:t>16.21</a:t>
                    </a:r>
                  </a:p>
                </c:rich>
              </c:tx>
              <c:dLblPos val="l"/>
              <c:showLegendKey val="0"/>
              <c:showVal val="1"/>
              <c:showCatName val="0"/>
              <c:showSerName val="0"/>
              <c:showPercent val="0"/>
              <c:showBubbleSize val="0"/>
            </c:dLbl>
            <c:dLbl>
              <c:idx val="1"/>
              <c:tx>
                <c:rich>
                  <a:bodyPr/>
                  <a:lstStyle/>
                  <a:p>
                    <a:r>
                      <a:t>IX 100</a:t>
                    </a:r>
                  </a:p>
                  <a:p>
                    <a:r>
                      <a:t>35.67</a:t>
                    </a:r>
                  </a:p>
                </c:rich>
              </c:tx>
              <c:dLblPos val="l"/>
              <c:showLegendKey val="0"/>
              <c:showVal val="1"/>
              <c:showCatName val="0"/>
              <c:showSerName val="0"/>
              <c:showPercent val="0"/>
              <c:showBubbleSize val="0"/>
            </c:dLbl>
            <c:dLbl>
              <c:idx val="2"/>
              <c:tx>
                <c:rich>
                  <a:bodyPr/>
                  <a:lstStyle/>
                  <a:p>
                    <a:r>
                      <a:t>IX 174</a:t>
                    </a:r>
                  </a:p>
                  <a:p>
                    <a:r>
                      <a:t>11.3</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5</c:v>
                </c:pt>
                <c:pt idx="1">
                  <c:v>IX 100</c:v>
                </c:pt>
                <c:pt idx="2">
                  <c:v>IX 174</c:v>
                </c:pt>
              </c:strCache>
            </c:strRef>
          </c:cat>
          <c:val>
            <c:numRef>
              <c:f>Sheet1!$C$2:$C$4</c:f>
              <c:numCache>
                <c:formatCode>General</c:formatCode>
                <c:ptCount val="3"/>
                <c:pt idx="0">
                  <c:v>16.21</c:v>
                </c:pt>
                <c:pt idx="1">
                  <c:v>35.67</c:v>
                </c:pt>
                <c:pt idx="2">
                  <c:v>11.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5</c:v>
                </c:pt>
                <c:pt idx="1">
                  <c:v>IX 100</c:v>
                </c:pt>
                <c:pt idx="2">
                  <c:v>IX 174</c:v>
                </c:pt>
              </c:strCache>
            </c:strRef>
          </c:cat>
          <c:val>
            <c:numRef>
              <c:f>Sheet1!$D$2:$D$4</c:f>
              <c:numCache>
                <c:formatCode>General</c:formatCode>
                <c:ptCount val="3"/>
                <c:pt idx="0">
                  <c:v>9.8</c:v>
                </c:pt>
                <c:pt idx="1">
                  <c:v>19.78</c:v>
                </c:pt>
                <c:pt idx="2">
                  <c:v>6.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Top Budget</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5</c:v>
                </c:pt>
                <c:pt idx="1">
                  <c:v>IX 100</c:v>
                </c:pt>
                <c:pt idx="2">
                  <c:v>IX 174</c:v>
                </c:pt>
              </c:strCache>
            </c:strRef>
          </c:cat>
          <c:val>
            <c:numRef>
              <c:f>Sheet1!$E$2:$E$4</c:f>
              <c:numCache>
                <c:formatCode>General</c:formatCode>
                <c:ptCount val="3"/>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Paturage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5</c:v>
                </c:pt>
                <c:pt idx="1">
                  <c:v>IX 100</c:v>
                </c:pt>
                <c:pt idx="2">
                  <c:v>IX 174</c:v>
                </c:pt>
              </c:strCache>
            </c:strRef>
          </c:cat>
          <c:val>
            <c:numRef>
              <c:f>Sheet1!$F$2:$F$4</c:f>
              <c:numCache>
                <c:formatCode>General</c:formatCode>
                <c:ptCount val="3"/>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6.1698"/>
          <c:min val="5.998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38</c:v>
                </c:pt>
                <c:pt idx="1">
                  <c:v>IX 100</c:v>
                </c:pt>
                <c:pt idx="2">
                  <c:v>IX 160</c:v>
                </c:pt>
              </c:strCache>
            </c:strRef>
          </c:cat>
          <c:val>
            <c:numRef>
              <c:f>Sheet1!$B$2:$B$4</c:f>
              <c:numCache>
                <c:formatCode>General</c:formatCode>
                <c:ptCount val="3"/>
                <c:pt idx="0">
                  <c:v>11.97</c:v>
                </c:pt>
                <c:pt idx="1">
                  <c:v>21.08</c:v>
                </c:pt>
                <c:pt idx="2">
                  <c:v>7.9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38</a:t>
                    </a:r>
                  </a:p>
                  <a:p>
                    <a:r>
                      <a:t>14.02</a:t>
                    </a:r>
                  </a:p>
                </c:rich>
              </c:tx>
              <c:dLblPos val="l"/>
              <c:showLegendKey val="0"/>
              <c:showVal val="1"/>
              <c:showCatName val="0"/>
              <c:showSerName val="0"/>
              <c:showPercent val="0"/>
              <c:showBubbleSize val="0"/>
            </c:dLbl>
            <c:dLbl>
              <c:idx val="1"/>
              <c:tx>
                <c:rich>
                  <a:bodyPr/>
                  <a:lstStyle/>
                  <a:p>
                    <a:r>
                      <a:t>IX 100</a:t>
                    </a:r>
                  </a:p>
                  <a:p>
                    <a:r>
                      <a:t>19.55</a:t>
                    </a:r>
                  </a:p>
                </c:rich>
              </c:tx>
              <c:dLblPos val="l"/>
              <c:showLegendKey val="0"/>
              <c:showVal val="1"/>
              <c:showCatName val="0"/>
              <c:showSerName val="0"/>
              <c:showPercent val="0"/>
              <c:showBubbleSize val="0"/>
            </c:dLbl>
            <c:dLbl>
              <c:idx val="2"/>
              <c:tx>
                <c:rich>
                  <a:bodyPr/>
                  <a:lstStyle/>
                  <a:p>
                    <a:r>
                      <a:t>IX 160</a:t>
                    </a:r>
                  </a:p>
                  <a:p>
                    <a:r>
                      <a:t>10.64</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38</c:v>
                </c:pt>
                <c:pt idx="1">
                  <c:v>IX 100</c:v>
                </c:pt>
                <c:pt idx="2">
                  <c:v>IX 160</c:v>
                </c:pt>
              </c:strCache>
            </c:strRef>
          </c:cat>
          <c:val>
            <c:numRef>
              <c:f>Sheet1!$C$2:$C$4</c:f>
              <c:numCache>
                <c:formatCode>General</c:formatCode>
                <c:ptCount val="3"/>
                <c:pt idx="0">
                  <c:v>14.02</c:v>
                </c:pt>
                <c:pt idx="1">
                  <c:v>19.55</c:v>
                </c:pt>
                <c:pt idx="2">
                  <c:v>10.6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dd</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38</c:v>
                </c:pt>
                <c:pt idx="1">
                  <c:v>IX 100</c:v>
                </c:pt>
                <c:pt idx="2">
                  <c:v>IX 160</c:v>
                </c:pt>
              </c:strCache>
            </c:strRef>
          </c:cat>
          <c:val>
            <c:numRef>
              <c:f>Sheet1!$D$2:$D$4</c:f>
              <c:numCache>
                <c:formatCode>General</c:formatCode>
                <c:ptCount val="3"/>
                <c:pt idx="0">
                  <c:v>10.18</c:v>
                </c:pt>
                <c:pt idx="1">
                  <c:v>27.48</c:v>
                </c:pt>
                <c:pt idx="2">
                  <c:v>6.6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ctali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38</c:v>
                </c:pt>
                <c:pt idx="1">
                  <c:v>IX 100</c:v>
                </c:pt>
                <c:pt idx="2">
                  <c:v>IX 160</c:v>
                </c:pt>
              </c:strCache>
            </c:strRef>
          </c:cat>
          <c:val>
            <c:numRef>
              <c:f>Sheet1!$E$2:$E$4</c:f>
              <c:numCache>
                <c:formatCode>General</c:formatCode>
                <c:ptCount val="3"/>
                <c:pt idx="0">
                  <c:v>12.36</c:v>
                </c:pt>
                <c:pt idx="1">
                  <c:v>34.05</c:v>
                </c:pt>
                <c:pt idx="2">
                  <c:v>9.2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es Mousquetaire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38</c:v>
                </c:pt>
                <c:pt idx="1">
                  <c:v>IX 100</c:v>
                </c:pt>
                <c:pt idx="2">
                  <c:v>IX 160</c:v>
                </c:pt>
              </c:strCache>
            </c:strRef>
          </c:cat>
          <c:val>
            <c:numRef>
              <c:f>Sheet1!$F$2:$F$4</c:f>
              <c:numCache>
                <c:formatCode>General</c:formatCode>
                <c:ptCount val="3"/>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4.5541"/>
          <c:min val="6.156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27</c:v>
                </c:pt>
                <c:pt idx="1">
                  <c:v>IX 100</c:v>
                </c:pt>
              </c:strCache>
            </c:strRef>
          </c:cat>
          <c:val>
            <c:numRef>
              <c:f>Sheet1!$B$2:$B$3</c:f>
              <c:numCache>
                <c:formatCode>General</c:formatCode>
                <c:ptCount val="2"/>
                <c:pt idx="0">
                  <c:v>13.03</c:v>
                </c:pt>
                <c:pt idx="1">
                  <c:v>21.7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27</a:t>
                    </a:r>
                  </a:p>
                  <a:p>
                    <a:r>
                      <a:t>14.32</a:t>
                    </a:r>
                  </a:p>
                </c:rich>
              </c:tx>
              <c:dLblPos val="l"/>
              <c:showLegendKey val="0"/>
              <c:showVal val="1"/>
              <c:showCatName val="0"/>
              <c:showSerName val="0"/>
              <c:showPercent val="0"/>
              <c:showBubbleSize val="0"/>
            </c:dLbl>
            <c:dLbl>
              <c:idx val="1"/>
              <c:tx>
                <c:rich>
                  <a:bodyPr/>
                  <a:lstStyle/>
                  <a:p>
                    <a:r>
                      <a:t>IX 100</a:t>
                    </a:r>
                  </a:p>
                  <a:p>
                    <a:r>
                      <a:t>20.11</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27</c:v>
                </c:pt>
                <c:pt idx="1">
                  <c:v>IX 100</c:v>
                </c:pt>
              </c:strCache>
            </c:strRef>
          </c:cat>
          <c:val>
            <c:numRef>
              <c:f>Sheet1!$C$2:$C$3</c:f>
              <c:numCache>
                <c:formatCode>General</c:formatCode>
                <c:ptCount val="2"/>
                <c:pt idx="0">
                  <c:v>14.32</c:v>
                </c:pt>
                <c:pt idx="1">
                  <c:v>20.11</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dd</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27</c:v>
                </c:pt>
                <c:pt idx="1">
                  <c:v>IX 100</c:v>
                </c:pt>
              </c:strCache>
            </c:strRef>
          </c:cat>
          <c:val>
            <c:numRef>
              <c:f>Sheet1!$D$2:$D$3</c:f>
              <c:numCache>
                <c:formatCode>General</c:formatCode>
                <c:ptCount val="2"/>
                <c:pt idx="0">
                  <c:v>11.3</c:v>
                </c:pt>
                <c:pt idx="1">
                  <c:v>31.4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avenci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27</c:v>
                </c:pt>
                <c:pt idx="1">
                  <c:v>IX 100</c:v>
                </c:pt>
              </c:strCache>
            </c:strRef>
          </c:cat>
          <c:val>
            <c:numRef>
              <c:f>Sheet1!$E$2:$E$3</c:f>
              <c:numCache>
                <c:formatCode>General</c:formatCode>
                <c:ptCount val="2"/>
                <c:pt idx="0">
                  <c:v>13.12</c:v>
                </c:pt>
                <c:pt idx="1">
                  <c:v>23.3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Upfiel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27</c:v>
                </c:pt>
                <c:pt idx="1">
                  <c:v>IX 100</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1.9087"/>
          <c:min val="10.80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8</c:v>
                </c:pt>
                <c:pt idx="1">
                  <c:v>IX 100</c:v>
                </c:pt>
                <c:pt idx="2">
                  <c:v>IX 170</c:v>
                </c:pt>
              </c:strCache>
            </c:strRef>
          </c:cat>
          <c:val>
            <c:numRef>
              <c:f>Sheet1!$B$2:$B$4</c:f>
              <c:numCache>
                <c:formatCode>General</c:formatCode>
                <c:ptCount val="3"/>
                <c:pt idx="0">
                  <c:v>11.61</c:v>
                </c:pt>
                <c:pt idx="1">
                  <c:v>20.67</c:v>
                </c:pt>
                <c:pt idx="2">
                  <c:v>7.9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48</a:t>
                    </a:r>
                  </a:p>
                  <a:p>
                    <a:r>
                      <a:t>14.4</a:t>
                    </a:r>
                  </a:p>
                </c:rich>
              </c:tx>
              <c:dLblPos val="l"/>
              <c:showLegendKey val="0"/>
              <c:showVal val="1"/>
              <c:showCatName val="0"/>
              <c:showSerName val="0"/>
              <c:showPercent val="0"/>
              <c:showBubbleSize val="0"/>
            </c:dLbl>
            <c:dLbl>
              <c:idx val="1"/>
              <c:tx>
                <c:rich>
                  <a:bodyPr/>
                  <a:lstStyle/>
                  <a:p>
                    <a:r>
                      <a:t>IX 100</a:t>
                    </a:r>
                  </a:p>
                  <a:p>
                    <a:r>
                      <a:t>19.96</a:t>
                    </a:r>
                  </a:p>
                </c:rich>
              </c:tx>
              <c:dLblPos val="l"/>
              <c:showLegendKey val="0"/>
              <c:showVal val="1"/>
              <c:showCatName val="0"/>
              <c:showSerName val="0"/>
              <c:showPercent val="0"/>
              <c:showBubbleSize val="0"/>
            </c:dLbl>
            <c:dLbl>
              <c:idx val="2"/>
              <c:tx>
                <c:rich>
                  <a:bodyPr/>
                  <a:lstStyle/>
                  <a:p>
                    <a:r>
                      <a:t>IX 170</a:t>
                    </a:r>
                  </a:p>
                  <a:p>
                    <a:r>
                      <a:t>11.31</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8</c:v>
                </c:pt>
                <c:pt idx="1">
                  <c:v>IX 100</c:v>
                </c:pt>
                <c:pt idx="2">
                  <c:v>IX 170</c:v>
                </c:pt>
              </c:strCache>
            </c:strRef>
          </c:cat>
          <c:val>
            <c:numRef>
              <c:f>Sheet1!$C$2:$C$4</c:f>
              <c:numCache>
                <c:formatCode>General</c:formatCode>
                <c:ptCount val="3"/>
                <c:pt idx="0">
                  <c:v>14.4</c:v>
                </c:pt>
                <c:pt idx="1">
                  <c:v>19.96</c:v>
                </c:pt>
                <c:pt idx="2">
                  <c:v>11.31</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dd</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8</c:v>
                </c:pt>
                <c:pt idx="1">
                  <c:v>IX 100</c:v>
                </c:pt>
                <c:pt idx="2">
                  <c:v>IX 170</c:v>
                </c:pt>
              </c:strCache>
            </c:strRef>
          </c:cat>
          <c:val>
            <c:numRef>
              <c:f>Sheet1!$D$2:$D$4</c:f>
              <c:numCache>
                <c:formatCode>General</c:formatCode>
                <c:ptCount val="3"/>
                <c:pt idx="0">
                  <c:v>9.76</c:v>
                </c:pt>
                <c:pt idx="1">
                  <c:v>20.72</c:v>
                </c:pt>
                <c:pt idx="2">
                  <c:v>6.6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ctali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8</c:v>
                </c:pt>
                <c:pt idx="1">
                  <c:v>IX 100</c:v>
                </c:pt>
                <c:pt idx="2">
                  <c:v>IX 170</c:v>
                </c:pt>
              </c:strCache>
            </c:strRef>
          </c:cat>
          <c:val>
            <c:numRef>
              <c:f>Sheet1!$E$2:$E$4</c:f>
              <c:numCache>
                <c:formatCode>General</c:formatCode>
                <c:ptCount val="3"/>
                <c:pt idx="0">
                  <c:v>12.26</c:v>
                </c:pt>
                <c:pt idx="1">
                  <c:v>8.08</c:v>
                </c:pt>
                <c:pt idx="2">
                  <c:v>9.1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es Mousquetaire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8</c:v>
                </c:pt>
                <c:pt idx="1">
                  <c:v>IX 100</c:v>
                </c:pt>
                <c:pt idx="2">
                  <c:v>IX 170</c:v>
                </c:pt>
              </c:strCache>
            </c:strRef>
          </c:cat>
          <c:val>
            <c:numRef>
              <c:f>Sheet1!$F$2:$F$4</c:f>
              <c:numCache>
                <c:formatCode>General</c:formatCode>
                <c:ptCount val="3"/>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1.2173"/>
          <c:min val="6.147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32</c:v>
                </c:pt>
                <c:pt idx="1">
                  <c:v/>
                </c:pt>
                <c:pt idx="2">
                  <c:v/>
                </c:pt>
              </c:strCache>
            </c:strRef>
          </c:cat>
          <c:val>
            <c:numRef>
              <c:f>Sheet1!$B$2:$B$4</c:f>
              <c:numCache>
                <c:formatCode>General</c:formatCode>
                <c:ptCount val="3"/>
                <c:pt idx="0">
                  <c:v>11.97</c:v>
                </c:pt>
                <c:pt idx="1">
                  <c:v>21.08</c:v>
                </c:pt>
                <c:pt idx="2">
                  <c:v>7.9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Kiri</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32</a:t>
                    </a:r>
                  </a:p>
                  <a:p>
                    <a:r>
                      <a:t>13.47</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32</c:v>
                </c:pt>
                <c:pt idx="1">
                  <c:v/>
                </c:pt>
                <c:pt idx="2">
                  <c:v/>
                </c:pt>
              </c:strCache>
            </c:strRef>
          </c:cat>
          <c:val>
            <c:numRef>
              <c:f>Sheet1!$C$2:$C$4</c:f>
              <c:numCache>
                <c:formatCode>General</c:formatCode>
                <c:ptCount val="3"/>
                <c:pt idx="0">
                  <c:v>13.4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32</c:v>
                </c:pt>
                <c:pt idx="1">
                  <c:v/>
                </c:pt>
                <c:pt idx="2">
                  <c:v/>
                </c:pt>
              </c:strCache>
            </c:strRef>
          </c:cat>
          <c:val>
            <c:numRef>
              <c:f>Sheet1!$D$2:$D$4</c:f>
              <c:numCache>
                <c:formatCode>General</c:formatCode>
                <c:ptCount val="3"/>
                <c:pt idx="0">
                  <c:v>10.18</c:v>
                </c:pt>
                <c:pt idx="1">
                  <c:v>27.48</c:v>
                </c:pt>
                <c:pt idx="2">
                  <c:v>6.6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Top Budget</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32</c:v>
                </c:pt>
                <c:pt idx="1">
                  <c:v/>
                </c:pt>
                <c:pt idx="2">
                  <c:v/>
                </c:pt>
              </c:strCache>
            </c:strRef>
          </c:cat>
          <c:val>
            <c:numRef>
              <c:f>Sheet1!$E$2:$E$4</c:f>
              <c:numCache>
                <c:formatCode>General</c:formatCode>
                <c:ptCount val="3"/>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Paturage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32</c:v>
                </c:pt>
                <c:pt idx="1">
                  <c:v/>
                </c:pt>
                <c:pt idx="2">
                  <c:v/>
                </c:pt>
              </c:strCache>
            </c:strRef>
          </c:cat>
          <c:val>
            <c:numRef>
              <c:f>Sheet1!$F$2:$F$4</c:f>
              <c:numCache>
                <c:formatCode>General</c:formatCode>
                <c:ptCount val="3"/>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7.9811"/>
          <c:min val="6.156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8</c:v>
                </c:pt>
                <c:pt idx="1">
                  <c:v/>
                </c:pt>
                <c:pt idx="2">
                  <c:v>IX 143</c:v>
                </c:pt>
              </c:strCache>
            </c:strRef>
          </c:cat>
          <c:val>
            <c:numRef>
              <c:f>Sheet1!$B$2:$B$4</c:f>
              <c:numCache>
                <c:formatCode>General</c:formatCode>
                <c:ptCount val="3"/>
                <c:pt idx="0">
                  <c:v>11.97</c:v>
                </c:pt>
                <c:pt idx="1">
                  <c:v>21.08</c:v>
                </c:pt>
                <c:pt idx="2">
                  <c:v>7.9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La Vache Qui Ri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8</a:t>
                    </a:r>
                  </a:p>
                  <a:p>
                    <a:r>
                      <a:t>10.9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43</a:t>
                    </a:r>
                  </a:p>
                  <a:p>
                    <a:r>
                      <a:t>9.51</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8</c:v>
                </c:pt>
                <c:pt idx="1">
                  <c:v/>
                </c:pt>
                <c:pt idx="2">
                  <c:v>IX 143</c:v>
                </c:pt>
              </c:strCache>
            </c:strRef>
          </c:cat>
          <c:val>
            <c:numRef>
              <c:f>Sheet1!$C$2:$C$4</c:f>
              <c:numCache>
                <c:formatCode>General</c:formatCode>
                <c:ptCount val="3"/>
                <c:pt idx="0">
                  <c:v>10.98</c:v>
                </c:pt>
                <c:pt idx="2">
                  <c:v>9.51</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8</c:v>
                </c:pt>
                <c:pt idx="1">
                  <c:v/>
                </c:pt>
                <c:pt idx="2">
                  <c:v>IX 143</c:v>
                </c:pt>
              </c:strCache>
            </c:strRef>
          </c:cat>
          <c:val>
            <c:numRef>
              <c:f>Sheet1!$D$2:$D$4</c:f>
              <c:numCache>
                <c:formatCode>General</c:formatCode>
                <c:ptCount val="3"/>
                <c:pt idx="0">
                  <c:v>10.18</c:v>
                </c:pt>
                <c:pt idx="1">
                  <c:v>27.48</c:v>
                </c:pt>
                <c:pt idx="2">
                  <c:v>6.6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Top Budget</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8</c:v>
                </c:pt>
                <c:pt idx="1">
                  <c:v/>
                </c:pt>
                <c:pt idx="2">
                  <c:v>IX 143</c:v>
                </c:pt>
              </c:strCache>
            </c:strRef>
          </c:cat>
          <c:val>
            <c:numRef>
              <c:f>Sheet1!$E$2:$E$4</c:f>
              <c:numCache>
                <c:formatCode>General</c:formatCode>
                <c:ptCount val="3"/>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Paturage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8</c:v>
                </c:pt>
                <c:pt idx="1">
                  <c:v/>
                </c:pt>
                <c:pt idx="2">
                  <c:v>IX 143</c:v>
                </c:pt>
              </c:strCache>
            </c:strRef>
          </c:cat>
          <c:val>
            <c:numRef>
              <c:f>Sheet1!$F$2:$F$4</c:f>
              <c:numCache>
                <c:formatCode>General</c:formatCode>
                <c:ptCount val="3"/>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7.9811"/>
          <c:min val="6.156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1</c:v>
                </c:pt>
                <c:pt idx="1">
                  <c:v>IX 100</c:v>
                </c:pt>
                <c:pt idx="2">
                  <c:v>IX 170</c:v>
                </c:pt>
              </c:strCache>
            </c:strRef>
          </c:cat>
          <c:val>
            <c:numRef>
              <c:f>Sheet1!$B$2:$B$4</c:f>
              <c:numCache>
                <c:formatCode>General</c:formatCode>
                <c:ptCount val="3"/>
                <c:pt idx="0">
                  <c:v>11.97</c:v>
                </c:pt>
                <c:pt idx="1">
                  <c:v>21.08</c:v>
                </c:pt>
                <c:pt idx="2">
                  <c:v>7.9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oursi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61</a:t>
                    </a:r>
                  </a:p>
                  <a:p>
                    <a:r>
                      <a:t>16.42</a:t>
                    </a:r>
                  </a:p>
                </c:rich>
              </c:tx>
              <c:dLblPos val="l"/>
              <c:showLegendKey val="0"/>
              <c:showVal val="1"/>
              <c:showCatName val="0"/>
              <c:showSerName val="0"/>
              <c:showPercent val="0"/>
              <c:showBubbleSize val="0"/>
            </c:dLbl>
            <c:dLbl>
              <c:idx val="1"/>
              <c:tx>
                <c:rich>
                  <a:bodyPr/>
                  <a:lstStyle/>
                  <a:p>
                    <a:r>
                      <a:t>IX 100</a:t>
                    </a:r>
                  </a:p>
                  <a:p>
                    <a:r>
                      <a:t>36.18</a:t>
                    </a:r>
                  </a:p>
                </c:rich>
              </c:tx>
              <c:dLblPos val="l"/>
              <c:showLegendKey val="0"/>
              <c:showVal val="1"/>
              <c:showCatName val="0"/>
              <c:showSerName val="0"/>
              <c:showPercent val="0"/>
              <c:showBubbleSize val="0"/>
            </c:dLbl>
            <c:dLbl>
              <c:idx val="2"/>
              <c:tx>
                <c:rich>
                  <a:bodyPr/>
                  <a:lstStyle/>
                  <a:p>
                    <a:r>
                      <a:t>IX 170</a:t>
                    </a:r>
                  </a:p>
                  <a:p>
                    <a:r>
                      <a:t>11.3</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1</c:v>
                </c:pt>
                <c:pt idx="1">
                  <c:v>IX 100</c:v>
                </c:pt>
                <c:pt idx="2">
                  <c:v>IX 170</c:v>
                </c:pt>
              </c:strCache>
            </c:strRef>
          </c:cat>
          <c:val>
            <c:numRef>
              <c:f>Sheet1!$C$2:$C$4</c:f>
              <c:numCache>
                <c:formatCode>General</c:formatCode>
                <c:ptCount val="3"/>
                <c:pt idx="0">
                  <c:v>16.42</c:v>
                </c:pt>
                <c:pt idx="1">
                  <c:v>36.18</c:v>
                </c:pt>
                <c:pt idx="2">
                  <c:v>11.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1</c:v>
                </c:pt>
                <c:pt idx="1">
                  <c:v>IX 100</c:v>
                </c:pt>
                <c:pt idx="2">
                  <c:v>IX 170</c:v>
                </c:pt>
              </c:strCache>
            </c:strRef>
          </c:cat>
          <c:val>
            <c:numRef>
              <c:f>Sheet1!$D$2:$D$4</c:f>
              <c:numCache>
                <c:formatCode>General</c:formatCode>
                <c:ptCount val="3"/>
                <c:pt idx="0">
                  <c:v>10.18</c:v>
                </c:pt>
                <c:pt idx="1">
                  <c:v>27.48</c:v>
                </c:pt>
                <c:pt idx="2">
                  <c:v>6.6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Top Budget</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1</c:v>
                </c:pt>
                <c:pt idx="1">
                  <c:v>IX 100</c:v>
                </c:pt>
                <c:pt idx="2">
                  <c:v>IX 170</c:v>
                </c:pt>
              </c:strCache>
            </c:strRef>
          </c:cat>
          <c:val>
            <c:numRef>
              <c:f>Sheet1!$E$2:$E$4</c:f>
              <c:numCache>
                <c:formatCode>General</c:formatCode>
                <c:ptCount val="3"/>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Paturage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1</c:v>
                </c:pt>
                <c:pt idx="1">
                  <c:v>IX 100</c:v>
                </c:pt>
                <c:pt idx="2">
                  <c:v>IX 170</c:v>
                </c:pt>
              </c:strCache>
            </c:strRef>
          </c:cat>
          <c:val>
            <c:numRef>
              <c:f>Sheet1!$F$2:$F$4</c:f>
              <c:numCache>
                <c:formatCode>General</c:formatCode>
                <c:ptCount val="3"/>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6.6758"/>
          <c:min val="6.156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22</c:v>
                </c:pt>
                <c:pt idx="1">
                  <c:v/>
                </c:pt>
              </c:strCache>
            </c:strRef>
          </c:cat>
          <c:val>
            <c:numRef>
              <c:f>Sheet1!$B$2:$B$3</c:f>
              <c:numCache>
                <c:formatCode>General</c:formatCode>
                <c:ptCount val="2"/>
                <c:pt idx="0">
                  <c:v>13.03</c:v>
                </c:pt>
                <c:pt idx="1">
                  <c:v>21.7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Kiri</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22</a:t>
                    </a:r>
                  </a:p>
                  <a:p>
                    <a:r>
                      <a:t>13.7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22</c:v>
                </c:pt>
                <c:pt idx="1">
                  <c:v/>
                </c:pt>
              </c:strCache>
            </c:strRef>
          </c:cat>
          <c:val>
            <c:numRef>
              <c:f>Sheet1!$C$2:$C$3</c:f>
              <c:numCache>
                <c:formatCode>General</c:formatCode>
                <c:ptCount val="2"/>
                <c:pt idx="0">
                  <c:v>13.7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22</c:v>
                </c:pt>
                <c:pt idx="1">
                  <c:v/>
                </c:pt>
              </c:strCache>
            </c:strRef>
          </c:cat>
          <c:val>
            <c:numRef>
              <c:f>Sheet1!$D$2:$D$3</c:f>
              <c:numCache>
                <c:formatCode>General</c:formatCode>
                <c:ptCount val="2"/>
                <c:pt idx="0">
                  <c:v>11.3</c:v>
                </c:pt>
                <c:pt idx="1">
                  <c:v>31.4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Violif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22</c:v>
                </c:pt>
                <c:pt idx="1">
                  <c:v/>
                </c:pt>
              </c:strCache>
            </c:strRef>
          </c:cat>
          <c:val>
            <c:numRef>
              <c:f>Sheet1!$E$2:$E$3</c:f>
              <c:numCache>
                <c:formatCode>General</c:formatCode>
                <c:ptCount val="2"/>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Apericub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22</c:v>
                </c:pt>
                <c:pt idx="1">
                  <c:v/>
                </c:pt>
              </c:strCache>
            </c:strRef>
          </c:cat>
          <c:val>
            <c:numRef>
              <c:f>Sheet1!$F$2:$F$3</c:f>
              <c:numCache>
                <c:formatCode>General</c:formatCode>
                <c:ptCount val="2"/>
                <c:pt idx="1">
                  <c:v>18.61</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1.9087"/>
          <c:min val="10.80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20</c:v>
                </c:pt>
                <c:pt idx="1">
                  <c:v>IX 100</c:v>
                </c:pt>
              </c:strCache>
            </c:strRef>
          </c:cat>
          <c:val>
            <c:numRef>
              <c:f>Sheet1!$B$2:$B$3</c:f>
              <c:numCache>
                <c:formatCode>General</c:formatCode>
                <c:ptCount val="2"/>
                <c:pt idx="0">
                  <c:v>12.45</c:v>
                </c:pt>
                <c:pt idx="1">
                  <c:v>20.99</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20</a:t>
                    </a:r>
                  </a:p>
                  <a:p>
                    <a:r>
                      <a:t>13.18</a:t>
                    </a:r>
                  </a:p>
                </c:rich>
              </c:tx>
              <c:dLblPos val="l"/>
              <c:showLegendKey val="0"/>
              <c:showVal val="1"/>
              <c:showCatName val="0"/>
              <c:showSerName val="0"/>
              <c:showPercent val="0"/>
              <c:showBubbleSize val="0"/>
            </c:dLbl>
            <c:dLbl>
              <c:idx val="1"/>
              <c:tx>
                <c:rich>
                  <a:bodyPr/>
                  <a:lstStyle/>
                  <a:p>
                    <a:r>
                      <a:t>IX 100</a:t>
                    </a:r>
                  </a:p>
                  <a:p>
                    <a:r>
                      <a:t>19.61</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20</c:v>
                </c:pt>
                <c:pt idx="1">
                  <c:v>IX 100</c:v>
                </c:pt>
              </c:strCache>
            </c:strRef>
          </c:cat>
          <c:val>
            <c:numRef>
              <c:f>Sheet1!$C$2:$C$3</c:f>
              <c:numCache>
                <c:formatCode>General</c:formatCode>
                <c:ptCount val="2"/>
                <c:pt idx="0">
                  <c:v>13.18</c:v>
                </c:pt>
                <c:pt idx="1">
                  <c:v>19.6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dd</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20</c:v>
                </c:pt>
                <c:pt idx="1">
                  <c:v>IX 100</c:v>
                </c:pt>
              </c:strCache>
            </c:strRef>
          </c:cat>
          <c:val>
            <c:numRef>
              <c:f>Sheet1!$D$2:$D$3</c:f>
              <c:numCache>
                <c:formatCode>General</c:formatCode>
                <c:ptCount val="2"/>
                <c:pt idx="0">
                  <c:v>10.99</c:v>
                </c:pt>
                <c:pt idx="1">
                  <c:v>31.3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avenci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20</c:v>
                </c:pt>
                <c:pt idx="1">
                  <c:v>IX 100</c:v>
                </c:pt>
              </c:strCache>
            </c:strRef>
          </c:cat>
          <c:val>
            <c:numRef>
              <c:f>Sheet1!$E$2:$E$3</c:f>
              <c:numCache>
                <c:formatCode>General</c:formatCode>
                <c:ptCount val="2"/>
                <c:pt idx="0">
                  <c:v>12.28</c:v>
                </c:pt>
                <c:pt idx="1">
                  <c:v>21.9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Upfiel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20</c:v>
                </c:pt>
                <c:pt idx="1">
                  <c:v>IX 100</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1.8218"/>
          <c:min val="10.490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B$2:$B$3</c:f>
              <c:numCache>
                <c:formatCode>General</c:formatCode>
                <c:ptCount val="2"/>
                <c:pt idx="0">
                  <c:v>13.03</c:v>
                </c:pt>
                <c:pt idx="1">
                  <c:v>21.7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La Vache Qui Ri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0</a:t>
                    </a:r>
                  </a:p>
                  <a:p>
                    <a:r>
                      <a:t>11.3</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C$2:$C$3</c:f>
              <c:numCache>
                <c:formatCode>General</c:formatCode>
                <c:ptCount val="2"/>
                <c:pt idx="0">
                  <c:v>11.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D$2:$D$3</c:f>
              <c:numCache>
                <c:formatCode>General</c:formatCode>
                <c:ptCount val="2"/>
                <c:pt idx="0">
                  <c:v>11.3</c:v>
                </c:pt>
                <c:pt idx="1">
                  <c:v>31.4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Violif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E$2:$E$3</c:f>
              <c:numCache>
                <c:formatCode>General</c:formatCode>
                <c:ptCount val="2"/>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Apericub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F$2:$F$3</c:f>
              <c:numCache>
                <c:formatCode>General</c:formatCode>
                <c:ptCount val="2"/>
                <c:pt idx="1">
                  <c:v>18.61</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1.9087"/>
          <c:min val="10.80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50</c:v>
                </c:pt>
                <c:pt idx="1">
                  <c:v>IX 195</c:v>
                </c:pt>
              </c:strCache>
            </c:strRef>
          </c:cat>
          <c:val>
            <c:numRef>
              <c:f>Sheet1!$B$2:$B$3</c:f>
              <c:numCache>
                <c:formatCode>General</c:formatCode>
                <c:ptCount val="2"/>
                <c:pt idx="0">
                  <c:v>13.03</c:v>
                </c:pt>
                <c:pt idx="1">
                  <c:v>21.7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oursi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50</a:t>
                    </a:r>
                  </a:p>
                  <a:p>
                    <a:r>
                      <a:t>16.98</a:t>
                    </a:r>
                  </a:p>
                </c:rich>
              </c:tx>
              <c:dLblPos val="l"/>
              <c:showLegendKey val="0"/>
              <c:showVal val="1"/>
              <c:showCatName val="0"/>
              <c:showSerName val="0"/>
              <c:showPercent val="0"/>
              <c:showBubbleSize val="0"/>
            </c:dLbl>
            <c:dLbl>
              <c:idx val="1"/>
              <c:tx>
                <c:rich>
                  <a:bodyPr/>
                  <a:lstStyle/>
                  <a:p>
                    <a:r>
                      <a:t>IX 195</a:t>
                    </a:r>
                  </a:p>
                  <a:p>
                    <a:r>
                      <a:t>36.38</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50</c:v>
                </c:pt>
                <c:pt idx="1">
                  <c:v>IX 195</c:v>
                </c:pt>
              </c:strCache>
            </c:strRef>
          </c:cat>
          <c:val>
            <c:numRef>
              <c:f>Sheet1!$C$2:$C$3</c:f>
              <c:numCache>
                <c:formatCode>General</c:formatCode>
                <c:ptCount val="2"/>
                <c:pt idx="0">
                  <c:v>16.98</c:v>
                </c:pt>
                <c:pt idx="1">
                  <c:v>36.3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50</c:v>
                </c:pt>
                <c:pt idx="1">
                  <c:v>IX 195</c:v>
                </c:pt>
              </c:strCache>
            </c:strRef>
          </c:cat>
          <c:val>
            <c:numRef>
              <c:f>Sheet1!$D$2:$D$3</c:f>
              <c:numCache>
                <c:formatCode>General</c:formatCode>
                <c:ptCount val="2"/>
                <c:pt idx="0">
                  <c:v>11.3</c:v>
                </c:pt>
                <c:pt idx="1">
                  <c:v>31.4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Violif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50</c:v>
                </c:pt>
                <c:pt idx="1">
                  <c:v>IX 195</c:v>
                </c:pt>
              </c:strCache>
            </c:strRef>
          </c:cat>
          <c:val>
            <c:numRef>
              <c:f>Sheet1!$E$2:$E$3</c:f>
              <c:numCache>
                <c:formatCode>General</c:formatCode>
                <c:ptCount val="2"/>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Apericub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50</c:v>
                </c:pt>
                <c:pt idx="1">
                  <c:v>IX 195</c:v>
                </c:pt>
              </c:strCache>
            </c:strRef>
          </c:cat>
          <c:val>
            <c:numRef>
              <c:f>Sheet1!$F$2:$F$3</c:f>
              <c:numCache>
                <c:formatCode>General</c:formatCode>
                <c:ptCount val="2"/>
                <c:pt idx="1">
                  <c:v>18.61</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6.8837"/>
          <c:min val="10.80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1</c:v>
                </c:pt>
                <c:pt idx="1">
                  <c:v/>
                </c:pt>
                <c:pt idx="2">
                  <c:v/>
                </c:pt>
              </c:strCache>
            </c:strRef>
          </c:cat>
          <c:val>
            <c:numRef>
              <c:f>Sheet1!$B$2:$B$4</c:f>
              <c:numCache>
                <c:formatCode>General</c:formatCode>
                <c:ptCount val="3"/>
                <c:pt idx="0">
                  <c:v>11.61</c:v>
                </c:pt>
                <c:pt idx="1">
                  <c:v>20.67</c:v>
                </c:pt>
                <c:pt idx="2">
                  <c:v>7.9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Kiri</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41</a:t>
                    </a:r>
                  </a:p>
                  <a:p>
                    <a:r>
                      <a:t>13.72</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1</c:v>
                </c:pt>
                <c:pt idx="1">
                  <c:v/>
                </c:pt>
                <c:pt idx="2">
                  <c:v/>
                </c:pt>
              </c:strCache>
            </c:strRef>
          </c:cat>
          <c:val>
            <c:numRef>
              <c:f>Sheet1!$C$2:$C$4</c:f>
              <c:numCache>
                <c:formatCode>General</c:formatCode>
                <c:ptCount val="3"/>
                <c:pt idx="0">
                  <c:v>13.7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1</c:v>
                </c:pt>
                <c:pt idx="1">
                  <c:v/>
                </c:pt>
                <c:pt idx="2">
                  <c:v/>
                </c:pt>
              </c:strCache>
            </c:strRef>
          </c:cat>
          <c:val>
            <c:numRef>
              <c:f>Sheet1!$D$2:$D$4</c:f>
              <c:numCache>
                <c:formatCode>General</c:formatCode>
                <c:ptCount val="3"/>
                <c:pt idx="0">
                  <c:v>9.76</c:v>
                </c:pt>
                <c:pt idx="1">
                  <c:v>20.72</c:v>
                </c:pt>
                <c:pt idx="2">
                  <c:v>6.6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Paturage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1</c:v>
                </c:pt>
                <c:pt idx="1">
                  <c:v/>
                </c:pt>
                <c:pt idx="2">
                  <c:v/>
                </c:pt>
              </c:strCache>
            </c:strRef>
          </c:cat>
          <c:val>
            <c:numRef>
              <c:f>Sheet1!$E$2:$E$4</c:f>
              <c:numCache>
                <c:formatCode>General</c:formatCode>
                <c:ptCount val="3"/>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Top Budget</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1</c:v>
                </c:pt>
                <c:pt idx="1">
                  <c:v/>
                </c:pt>
                <c:pt idx="2">
                  <c:v/>
                </c:pt>
              </c:strCache>
            </c:strRef>
          </c:cat>
          <c:val>
            <c:numRef>
              <c:f>Sheet1!$F$2:$F$4</c:f>
              <c:numCache>
                <c:formatCode>General</c:formatCode>
                <c:ptCount val="3"/>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1.2173"/>
          <c:min val="6.147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19</c:v>
                </c:pt>
                <c:pt idx="1">
                  <c:v/>
                </c:pt>
                <c:pt idx="2">
                  <c:v>IX 88</c:v>
                </c:pt>
              </c:strCache>
            </c:strRef>
          </c:cat>
          <c:val>
            <c:numRef>
              <c:f>Sheet1!$B$2:$B$4</c:f>
              <c:numCache>
                <c:formatCode>General</c:formatCode>
                <c:ptCount val="3"/>
                <c:pt idx="0">
                  <c:v>11.61</c:v>
                </c:pt>
                <c:pt idx="1">
                  <c:v>20.67</c:v>
                </c:pt>
                <c:pt idx="2">
                  <c:v>7.9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La Vache Qui Ri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19</a:t>
                    </a:r>
                  </a:p>
                  <a:p>
                    <a:r>
                      <a:t>11.5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88</a:t>
                    </a:r>
                  </a:p>
                  <a:p>
                    <a:r>
                      <a:t>5.88</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19</c:v>
                </c:pt>
                <c:pt idx="1">
                  <c:v/>
                </c:pt>
                <c:pt idx="2">
                  <c:v>IX 88</c:v>
                </c:pt>
              </c:strCache>
            </c:strRef>
          </c:cat>
          <c:val>
            <c:numRef>
              <c:f>Sheet1!$C$2:$C$4</c:f>
              <c:numCache>
                <c:formatCode>General</c:formatCode>
                <c:ptCount val="3"/>
                <c:pt idx="0">
                  <c:v>11.58</c:v>
                </c:pt>
                <c:pt idx="2">
                  <c:v>5.8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19</c:v>
                </c:pt>
                <c:pt idx="1">
                  <c:v/>
                </c:pt>
                <c:pt idx="2">
                  <c:v>IX 88</c:v>
                </c:pt>
              </c:strCache>
            </c:strRef>
          </c:cat>
          <c:val>
            <c:numRef>
              <c:f>Sheet1!$D$2:$D$4</c:f>
              <c:numCache>
                <c:formatCode>General</c:formatCode>
                <c:ptCount val="3"/>
                <c:pt idx="0">
                  <c:v>9.76</c:v>
                </c:pt>
                <c:pt idx="1">
                  <c:v>20.72</c:v>
                </c:pt>
                <c:pt idx="2">
                  <c:v>6.6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Top Budget</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19</c:v>
                </c:pt>
                <c:pt idx="1">
                  <c:v/>
                </c:pt>
                <c:pt idx="2">
                  <c:v>IX 88</c:v>
                </c:pt>
              </c:strCache>
            </c:strRef>
          </c:cat>
          <c:val>
            <c:numRef>
              <c:f>Sheet1!$E$2:$E$4</c:f>
              <c:numCache>
                <c:formatCode>General</c:formatCode>
                <c:ptCount val="3"/>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Paturage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19</c:v>
                </c:pt>
                <c:pt idx="1">
                  <c:v/>
                </c:pt>
                <c:pt idx="2">
                  <c:v>IX 88</c:v>
                </c:pt>
              </c:strCache>
            </c:strRef>
          </c:cat>
          <c:val>
            <c:numRef>
              <c:f>Sheet1!$F$2:$F$4</c:f>
              <c:numCache>
                <c:formatCode>General</c:formatCode>
                <c:ptCount val="3"/>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1.2173"/>
          <c:min val="5.37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9</c:v>
                </c:pt>
                <c:pt idx="1">
                  <c:v>IX 100</c:v>
                </c:pt>
                <c:pt idx="2">
                  <c:v>IX 170</c:v>
                </c:pt>
              </c:strCache>
            </c:strRef>
          </c:cat>
          <c:val>
            <c:numRef>
              <c:f>Sheet1!$B$2:$B$4</c:f>
              <c:numCache>
                <c:formatCode>General</c:formatCode>
                <c:ptCount val="3"/>
                <c:pt idx="0">
                  <c:v>11.61</c:v>
                </c:pt>
                <c:pt idx="1">
                  <c:v>20.67</c:v>
                </c:pt>
                <c:pt idx="2">
                  <c:v>7.9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oursi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69</a:t>
                    </a:r>
                  </a:p>
                  <a:p>
                    <a:r>
                      <a:t>16.49</a:t>
                    </a:r>
                  </a:p>
                </c:rich>
              </c:tx>
              <c:dLblPos val="l"/>
              <c:showLegendKey val="0"/>
              <c:showVal val="1"/>
              <c:showCatName val="0"/>
              <c:showSerName val="0"/>
              <c:showPercent val="0"/>
              <c:showBubbleSize val="0"/>
            </c:dLbl>
            <c:dLbl>
              <c:idx val="1"/>
              <c:tx>
                <c:rich>
                  <a:bodyPr/>
                  <a:lstStyle/>
                  <a:p>
                    <a:r>
                      <a:t>IX 100</a:t>
                    </a:r>
                  </a:p>
                  <a:p>
                    <a:r>
                      <a:t>36.81</a:t>
                    </a:r>
                  </a:p>
                </c:rich>
              </c:tx>
              <c:dLblPos val="l"/>
              <c:showLegendKey val="0"/>
              <c:showVal val="1"/>
              <c:showCatName val="0"/>
              <c:showSerName val="0"/>
              <c:showPercent val="0"/>
              <c:showBubbleSize val="0"/>
            </c:dLbl>
            <c:dLbl>
              <c:idx val="2"/>
              <c:tx>
                <c:rich>
                  <a:bodyPr/>
                  <a:lstStyle/>
                  <a:p>
                    <a:r>
                      <a:t>IX 170</a:t>
                    </a:r>
                  </a:p>
                  <a:p>
                    <a:r>
                      <a:t>11.32</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9</c:v>
                </c:pt>
                <c:pt idx="1">
                  <c:v>IX 100</c:v>
                </c:pt>
                <c:pt idx="2">
                  <c:v>IX 170</c:v>
                </c:pt>
              </c:strCache>
            </c:strRef>
          </c:cat>
          <c:val>
            <c:numRef>
              <c:f>Sheet1!$C$2:$C$4</c:f>
              <c:numCache>
                <c:formatCode>General</c:formatCode>
                <c:ptCount val="3"/>
                <c:pt idx="0">
                  <c:v>16.49</c:v>
                </c:pt>
                <c:pt idx="1">
                  <c:v>36.81</c:v>
                </c:pt>
                <c:pt idx="2">
                  <c:v>11.3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9</c:v>
                </c:pt>
                <c:pt idx="1">
                  <c:v>IX 100</c:v>
                </c:pt>
                <c:pt idx="2">
                  <c:v>IX 170</c:v>
                </c:pt>
              </c:strCache>
            </c:strRef>
          </c:cat>
          <c:val>
            <c:numRef>
              <c:f>Sheet1!$D$2:$D$4</c:f>
              <c:numCache>
                <c:formatCode>General</c:formatCode>
                <c:ptCount val="3"/>
                <c:pt idx="0">
                  <c:v>9.76</c:v>
                </c:pt>
                <c:pt idx="1">
                  <c:v>20.72</c:v>
                </c:pt>
                <c:pt idx="2">
                  <c:v>6.6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Top Budget</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9</c:v>
                </c:pt>
                <c:pt idx="1">
                  <c:v>IX 100</c:v>
                </c:pt>
                <c:pt idx="2">
                  <c:v>IX 170</c:v>
                </c:pt>
              </c:strCache>
            </c:strRef>
          </c:cat>
          <c:val>
            <c:numRef>
              <c:f>Sheet1!$E$2:$E$4</c:f>
              <c:numCache>
                <c:formatCode>General</c:formatCode>
                <c:ptCount val="3"/>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Paturage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9</c:v>
                </c:pt>
                <c:pt idx="1">
                  <c:v>IX 100</c:v>
                </c:pt>
                <c:pt idx="2">
                  <c:v>IX 170</c:v>
                </c:pt>
              </c:strCache>
            </c:strRef>
          </c:cat>
          <c:val>
            <c:numRef>
              <c:f>Sheet1!$F$2:$F$4</c:f>
              <c:numCache>
                <c:formatCode>General</c:formatCode>
                <c:ptCount val="3"/>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7.3109"/>
          <c:min val="6.147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5</c:v>
                </c:pt>
                <c:pt idx="1">
                  <c:v>IX 122</c:v>
                </c:pt>
                <c:pt idx="2">
                  <c:v>IX 100</c:v>
                </c:pt>
              </c:strCache>
            </c:strRef>
          </c:cat>
          <c:val>
            <c:numRef>
              <c:f>Sheet1!$B$2:$B$4</c:f>
              <c:numCache>
                <c:formatCode>General</c:formatCode>
                <c:ptCount val="3"/>
                <c:pt idx="0">
                  <c:v>12.74</c:v>
                </c:pt>
                <c:pt idx="1">
                  <c:v>11.11</c:v>
                </c:pt>
                <c:pt idx="2">
                  <c:v>12.1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65</a:t>
                    </a:r>
                  </a:p>
                  <a:p>
                    <a:r>
                      <a:t>18.77</a:t>
                    </a:r>
                  </a:p>
                </c:rich>
              </c:tx>
              <c:dLblPos val="l"/>
              <c:showLegendKey val="0"/>
              <c:showVal val="1"/>
              <c:showCatName val="0"/>
              <c:showSerName val="0"/>
              <c:showPercent val="0"/>
              <c:showBubbleSize val="0"/>
            </c:dLbl>
            <c:dLbl>
              <c:idx val="1"/>
              <c:tx>
                <c:rich>
                  <a:bodyPr/>
                  <a:lstStyle/>
                  <a:p>
                    <a:r>
                      <a:t>IX 122</a:t>
                    </a:r>
                  </a:p>
                  <a:p>
                    <a:r>
                      <a:t>15.26</a:t>
                    </a:r>
                  </a:p>
                </c:rich>
              </c:tx>
              <c:dLblPos val="l"/>
              <c:showLegendKey val="0"/>
              <c:showVal val="1"/>
              <c:showCatName val="0"/>
              <c:showSerName val="0"/>
              <c:showPercent val="0"/>
              <c:showBubbleSize val="0"/>
            </c:dLbl>
            <c:dLbl>
              <c:idx val="2"/>
              <c:tx>
                <c:rich>
                  <a:bodyPr/>
                  <a:lstStyle/>
                  <a:p>
                    <a:r>
                      <a:t>IX 100</a:t>
                    </a:r>
                  </a:p>
                  <a:p>
                    <a:r>
                      <a:t>13.07</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5</c:v>
                </c:pt>
                <c:pt idx="1">
                  <c:v>IX 122</c:v>
                </c:pt>
                <c:pt idx="2">
                  <c:v>IX 100</c:v>
                </c:pt>
              </c:strCache>
            </c:strRef>
          </c:cat>
          <c:val>
            <c:numRef>
              <c:f>Sheet1!$C$2:$C$4</c:f>
              <c:numCache>
                <c:formatCode>General</c:formatCode>
                <c:ptCount val="3"/>
                <c:pt idx="0">
                  <c:v>18.77</c:v>
                </c:pt>
                <c:pt idx="1">
                  <c:v>15.26</c:v>
                </c:pt>
                <c:pt idx="2">
                  <c:v>13.0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dd</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5</c:v>
                </c:pt>
                <c:pt idx="1">
                  <c:v>IX 122</c:v>
                </c:pt>
                <c:pt idx="2">
                  <c:v>IX 100</c:v>
                </c:pt>
              </c:strCache>
            </c:strRef>
          </c:cat>
          <c:val>
            <c:numRef>
              <c:f>Sheet1!$D$2:$D$4</c:f>
              <c:numCache>
                <c:formatCode>General</c:formatCode>
                <c:ptCount val="3"/>
                <c:pt idx="0">
                  <c:v>11.4</c:v>
                </c:pt>
                <c:pt idx="1">
                  <c:v>7.57</c:v>
                </c:pt>
                <c:pt idx="2">
                  <c:v>7.5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ctali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5</c:v>
                </c:pt>
                <c:pt idx="1">
                  <c:v>IX 122</c:v>
                </c:pt>
                <c:pt idx="2">
                  <c:v>IX 100</c:v>
                </c:pt>
              </c:strCache>
            </c:strRef>
          </c:cat>
          <c:val>
            <c:numRef>
              <c:f>Sheet1!$E$2:$E$4</c:f>
              <c:numCache>
                <c:formatCode>General</c:formatCode>
                <c:ptCount val="3"/>
                <c:pt idx="0">
                  <c:v>13.24</c:v>
                </c:pt>
                <c:pt idx="1">
                  <c:v>12.84</c:v>
                </c:pt>
                <c:pt idx="2">
                  <c:v>9.3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avenci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5</c:v>
                </c:pt>
                <c:pt idx="1">
                  <c:v>IX 122</c:v>
                </c:pt>
                <c:pt idx="2">
                  <c:v>IX 100</c:v>
                </c:pt>
              </c:strCache>
            </c:strRef>
          </c:cat>
          <c:val>
            <c:numRef>
              <c:f>Sheet1!$F$2:$F$4</c:f>
              <c:numCache>
                <c:formatCode>General</c:formatCode>
                <c:ptCount val="3"/>
                <c:pt idx="0">
                  <c:v>18.2</c:v>
                </c:pt>
                <c:pt idx="1">
                  <c:v>12.56</c:v>
                </c:pt>
                <c:pt idx="2">
                  <c:v>17.2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9.2723"/>
          <c:min val="7.058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5</c:v>
                </c:pt>
                <c:pt idx="1">
                  <c:v>IX 120</c:v>
                </c:pt>
                <c:pt idx="2">
                  <c:v>IX 100</c:v>
                </c:pt>
              </c:strCache>
            </c:strRef>
          </c:cat>
          <c:val>
            <c:numRef>
              <c:f>Sheet1!$B$2:$B$4</c:f>
              <c:numCache>
                <c:formatCode>General</c:formatCode>
                <c:ptCount val="3"/>
                <c:pt idx="0">
                  <c:v>13.83</c:v>
                </c:pt>
                <c:pt idx="1">
                  <c:v>12.02</c:v>
                </c:pt>
                <c:pt idx="2">
                  <c:v>12.5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45</a:t>
                    </a:r>
                  </a:p>
                  <a:p>
                    <a:r>
                      <a:t>18.04</a:t>
                    </a:r>
                  </a:p>
                </c:rich>
              </c:tx>
              <c:dLblPos val="l"/>
              <c:showLegendKey val="0"/>
              <c:showVal val="1"/>
              <c:showCatName val="0"/>
              <c:showSerName val="0"/>
              <c:showPercent val="0"/>
              <c:showBubbleSize val="0"/>
            </c:dLbl>
            <c:dLbl>
              <c:idx val="1"/>
              <c:tx>
                <c:rich>
                  <a:bodyPr/>
                  <a:lstStyle/>
                  <a:p>
                    <a:r>
                      <a:t>IX 120</a:t>
                    </a:r>
                  </a:p>
                  <a:p>
                    <a:r>
                      <a:t>15.77</a:t>
                    </a:r>
                  </a:p>
                </c:rich>
              </c:tx>
              <c:dLblPos val="l"/>
              <c:showLegendKey val="0"/>
              <c:showVal val="1"/>
              <c:showCatName val="0"/>
              <c:showSerName val="0"/>
              <c:showPercent val="0"/>
              <c:showBubbleSize val="0"/>
            </c:dLbl>
            <c:dLbl>
              <c:idx val="2"/>
              <c:tx>
                <c:rich>
                  <a:bodyPr/>
                  <a:lstStyle/>
                  <a:p>
                    <a:r>
                      <a:t>IX 100</a:t>
                    </a:r>
                  </a:p>
                  <a:p>
                    <a:r>
                      <a:t>12.58</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5</c:v>
                </c:pt>
                <c:pt idx="1">
                  <c:v>IX 120</c:v>
                </c:pt>
                <c:pt idx="2">
                  <c:v>IX 100</c:v>
                </c:pt>
              </c:strCache>
            </c:strRef>
          </c:cat>
          <c:val>
            <c:numRef>
              <c:f>Sheet1!$C$2:$C$4</c:f>
              <c:numCache>
                <c:formatCode>General</c:formatCode>
                <c:ptCount val="3"/>
                <c:pt idx="0">
                  <c:v>18.04</c:v>
                </c:pt>
                <c:pt idx="1">
                  <c:v>15.77</c:v>
                </c:pt>
                <c:pt idx="2">
                  <c:v>12.5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dd</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5</c:v>
                </c:pt>
                <c:pt idx="1">
                  <c:v>IX 120</c:v>
                </c:pt>
                <c:pt idx="2">
                  <c:v>IX 100</c:v>
                </c:pt>
              </c:strCache>
            </c:strRef>
          </c:cat>
          <c:val>
            <c:numRef>
              <c:f>Sheet1!$D$2:$D$4</c:f>
              <c:numCache>
                <c:formatCode>General</c:formatCode>
                <c:ptCount val="3"/>
                <c:pt idx="0">
                  <c:v>12.42</c:v>
                </c:pt>
                <c:pt idx="1">
                  <c:v>8.33</c:v>
                </c:pt>
                <c:pt idx="2">
                  <c:v>8.4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ctali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5</c:v>
                </c:pt>
                <c:pt idx="1">
                  <c:v>IX 120</c:v>
                </c:pt>
                <c:pt idx="2">
                  <c:v>IX 100</c:v>
                </c:pt>
              </c:strCache>
            </c:strRef>
          </c:cat>
          <c:val>
            <c:numRef>
              <c:f>Sheet1!$E$2:$E$4</c:f>
              <c:numCache>
                <c:formatCode>General</c:formatCode>
                <c:ptCount val="3"/>
                <c:pt idx="0">
                  <c:v>13.46</c:v>
                </c:pt>
                <c:pt idx="1">
                  <c:v>13.28</c:v>
                </c:pt>
                <c:pt idx="2">
                  <c:v>8.7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avenci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5</c:v>
                </c:pt>
                <c:pt idx="1">
                  <c:v>IX 120</c:v>
                </c:pt>
                <c:pt idx="2">
                  <c:v>IX 100</c:v>
                </c:pt>
              </c:strCache>
            </c:strRef>
          </c:cat>
          <c:val>
            <c:numRef>
              <c:f>Sheet1!$F$2:$F$4</c:f>
              <c:numCache>
                <c:formatCode>General</c:formatCode>
                <c:ptCount val="3"/>
                <c:pt idx="0">
                  <c:v>17.83</c:v>
                </c:pt>
                <c:pt idx="1">
                  <c:v>13.15</c:v>
                </c:pt>
                <c:pt idx="2">
                  <c:v>19.1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9.6108"/>
          <c:min val="7.8348999999999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6</c:v>
                </c:pt>
                <c:pt idx="1">
                  <c:v>IX 123</c:v>
                </c:pt>
                <c:pt idx="2">
                  <c:v>IX 100</c:v>
                </c:pt>
              </c:strCache>
            </c:strRef>
          </c:cat>
          <c:val>
            <c:numRef>
              <c:f>Sheet1!$B$2:$B$4</c:f>
              <c:numCache>
                <c:formatCode>General</c:formatCode>
                <c:ptCount val="3"/>
                <c:pt idx="0">
                  <c:v>12.42</c:v>
                </c:pt>
                <c:pt idx="1">
                  <c:v>11.77</c:v>
                </c:pt>
                <c:pt idx="2">
                  <c:v>12.8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86</a:t>
                    </a:r>
                  </a:p>
                  <a:p>
                    <a:r>
                      <a:t>20.2</a:t>
                    </a:r>
                  </a:p>
                </c:rich>
              </c:tx>
              <c:dLblPos val="l"/>
              <c:showLegendKey val="0"/>
              <c:showVal val="1"/>
              <c:showCatName val="0"/>
              <c:showSerName val="0"/>
              <c:showPercent val="0"/>
              <c:showBubbleSize val="0"/>
            </c:dLbl>
            <c:dLbl>
              <c:idx val="1"/>
              <c:tx>
                <c:rich>
                  <a:bodyPr/>
                  <a:lstStyle/>
                  <a:p>
                    <a:r>
                      <a:t>IX 123</a:t>
                    </a:r>
                  </a:p>
                  <a:p>
                    <a:r>
                      <a:t>15.67</a:t>
                    </a:r>
                  </a:p>
                </c:rich>
              </c:tx>
              <c:dLblPos val="l"/>
              <c:showLegendKey val="0"/>
              <c:showVal val="1"/>
              <c:showCatName val="0"/>
              <c:showSerName val="0"/>
              <c:showPercent val="0"/>
              <c:showBubbleSize val="0"/>
            </c:dLbl>
            <c:dLbl>
              <c:idx val="2"/>
              <c:tx>
                <c:rich>
                  <a:bodyPr/>
                  <a:lstStyle/>
                  <a:p>
                    <a:r>
                      <a:t>IX 100</a:t>
                    </a:r>
                  </a:p>
                  <a:p>
                    <a:r>
                      <a:t>13.36</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6</c:v>
                </c:pt>
                <c:pt idx="1">
                  <c:v>IX 123</c:v>
                </c:pt>
                <c:pt idx="2">
                  <c:v>IX 100</c:v>
                </c:pt>
              </c:strCache>
            </c:strRef>
          </c:cat>
          <c:val>
            <c:numRef>
              <c:f>Sheet1!$C$2:$C$4</c:f>
              <c:numCache>
                <c:formatCode>General</c:formatCode>
                <c:ptCount val="3"/>
                <c:pt idx="0">
                  <c:v>20.2</c:v>
                </c:pt>
                <c:pt idx="1">
                  <c:v>15.67</c:v>
                </c:pt>
                <c:pt idx="2">
                  <c:v>13.3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dd</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6</c:v>
                </c:pt>
                <c:pt idx="1">
                  <c:v>IX 123</c:v>
                </c:pt>
                <c:pt idx="2">
                  <c:v>IX 100</c:v>
                </c:pt>
              </c:strCache>
            </c:strRef>
          </c:cat>
          <c:val>
            <c:numRef>
              <c:f>Sheet1!$D$2:$D$4</c:f>
              <c:numCache>
                <c:formatCode>General</c:formatCode>
                <c:ptCount val="3"/>
                <c:pt idx="0">
                  <c:v>10.86</c:v>
                </c:pt>
                <c:pt idx="1">
                  <c:v>7.96</c:v>
                </c:pt>
                <c:pt idx="2">
                  <c:v>8.0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ctali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6</c:v>
                </c:pt>
                <c:pt idx="1">
                  <c:v>IX 123</c:v>
                </c:pt>
                <c:pt idx="2">
                  <c:v>IX 100</c:v>
                </c:pt>
              </c:strCache>
            </c:strRef>
          </c:cat>
          <c:val>
            <c:numRef>
              <c:f>Sheet1!$E$2:$E$4</c:f>
              <c:numCache>
                <c:formatCode>General</c:formatCode>
                <c:ptCount val="3"/>
                <c:pt idx="0">
                  <c:v>13.43</c:v>
                </c:pt>
                <c:pt idx="1">
                  <c:v>17.17</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avenci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6</c:v>
                </c:pt>
                <c:pt idx="1">
                  <c:v>IX 123</c:v>
                </c:pt>
                <c:pt idx="2">
                  <c:v>IX 100</c:v>
                </c:pt>
              </c:strCache>
            </c:strRef>
          </c:cat>
          <c:val>
            <c:numRef>
              <c:f>Sheet1!$F$2:$F$4</c:f>
              <c:numCache>
                <c:formatCode>General</c:formatCode>
                <c:ptCount val="3"/>
                <c:pt idx="0">
                  <c:v>19.43</c:v>
                </c:pt>
                <c:pt idx="1">
                  <c:v>12.7</c:v>
                </c:pt>
                <c:pt idx="2">
                  <c:v>16.2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7014"/>
          <c:min val="7.458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33</c:v>
                </c:pt>
                <c:pt idx="2">
                  <c:v>IX 75</c:v>
                </c:pt>
              </c:strCache>
            </c:strRef>
          </c:cat>
          <c:val>
            <c:numRef>
              <c:f>Sheet1!$B$2:$B$4</c:f>
              <c:numCache>
                <c:formatCode>General</c:formatCode>
                <c:ptCount val="3"/>
                <c:pt idx="0">
                  <c:v>12.74</c:v>
                </c:pt>
                <c:pt idx="1">
                  <c:v>11.11</c:v>
                </c:pt>
                <c:pt idx="2">
                  <c:v>12.1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Kiri</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33</a:t>
                    </a:r>
                  </a:p>
                  <a:p>
                    <a:r>
                      <a:t>16.77</a:t>
                    </a:r>
                  </a:p>
                </c:rich>
              </c:tx>
              <c:dLblPos val="l"/>
              <c:showLegendKey val="0"/>
              <c:showVal val="1"/>
              <c:showCatName val="0"/>
              <c:showSerName val="0"/>
              <c:showPercent val="0"/>
              <c:showBubbleSize val="0"/>
            </c:dLbl>
            <c:dLbl>
              <c:idx val="2"/>
              <c:tx>
                <c:rich>
                  <a:bodyPr/>
                  <a:lstStyle/>
                  <a:p>
                    <a:r>
                      <a:t>IX 75</a:t>
                    </a:r>
                  </a:p>
                  <a:p>
                    <a:r>
                      <a:t>12.93</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33</c:v>
                </c:pt>
                <c:pt idx="2">
                  <c:v>IX 75</c:v>
                </c:pt>
              </c:strCache>
            </c:strRef>
          </c:cat>
          <c:val>
            <c:numRef>
              <c:f>Sheet1!$C$2:$C$4</c:f>
              <c:numCache>
                <c:formatCode>General</c:formatCode>
                <c:ptCount val="3"/>
                <c:pt idx="1">
                  <c:v>16.77</c:v>
                </c:pt>
                <c:pt idx="2">
                  <c:v>12.9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33</c:v>
                </c:pt>
                <c:pt idx="2">
                  <c:v>IX 75</c:v>
                </c:pt>
              </c:strCache>
            </c:strRef>
          </c:cat>
          <c:val>
            <c:numRef>
              <c:f>Sheet1!$D$2:$D$4</c:f>
              <c:numCache>
                <c:formatCode>General</c:formatCode>
                <c:ptCount val="3"/>
                <c:pt idx="0">
                  <c:v>11.4</c:v>
                </c:pt>
                <c:pt idx="1">
                  <c:v>7.57</c:v>
                </c:pt>
                <c:pt idx="2">
                  <c:v>7.5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t Moret</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33</c:v>
                </c:pt>
                <c:pt idx="2">
                  <c:v>IX 75</c:v>
                </c:pt>
              </c:strCache>
            </c:strRef>
          </c:cat>
          <c:val>
            <c:numRef>
              <c:f>Sheet1!$E$2:$E$4</c:f>
              <c:numCache>
                <c:formatCode>General</c:formatCode>
                <c:ptCount val="3"/>
                <c:pt idx="1">
                  <c:v>12.64</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ini Babybe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33</c:v>
                </c:pt>
                <c:pt idx="2">
                  <c:v>IX 75</c:v>
                </c:pt>
              </c:strCache>
            </c:strRef>
          </c:cat>
          <c:val>
            <c:numRef>
              <c:f>Sheet1!$F$2:$F$4</c:f>
              <c:numCache>
                <c:formatCode>General</c:formatCode>
                <c:ptCount val="3"/>
                <c:pt idx="2">
                  <c:v>17.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7.7013"/>
          <c:min val="7.058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03</c:v>
                </c:pt>
                <c:pt idx="2">
                  <c:v>IX 62</c:v>
                </c:pt>
              </c:strCache>
            </c:strRef>
          </c:cat>
          <c:val>
            <c:numRef>
              <c:f>Sheet1!$B$2:$B$4</c:f>
              <c:numCache>
                <c:formatCode>General</c:formatCode>
                <c:ptCount val="3"/>
                <c:pt idx="0">
                  <c:v>12.74</c:v>
                </c:pt>
                <c:pt idx="1">
                  <c:v>11.11</c:v>
                </c:pt>
                <c:pt idx="2">
                  <c:v>12.1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La Vache Qui Ri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3</a:t>
                    </a:r>
                  </a:p>
                  <a:p>
                    <a:r>
                      <a:t>13.0</a:t>
                    </a:r>
                  </a:p>
                </c:rich>
              </c:tx>
              <c:dLblPos val="l"/>
              <c:showLegendKey val="0"/>
              <c:showVal val="1"/>
              <c:showCatName val="0"/>
              <c:showSerName val="0"/>
              <c:showPercent val="0"/>
              <c:showBubbleSize val="0"/>
            </c:dLbl>
            <c:dLbl>
              <c:idx val="2"/>
              <c:tx>
                <c:rich>
                  <a:bodyPr/>
                  <a:lstStyle/>
                  <a:p>
                    <a:r>
                      <a:t>IX 62</a:t>
                    </a:r>
                  </a:p>
                  <a:p>
                    <a:r>
                      <a:t>10.58</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03</c:v>
                </c:pt>
                <c:pt idx="2">
                  <c:v>IX 62</c:v>
                </c:pt>
              </c:strCache>
            </c:strRef>
          </c:cat>
          <c:val>
            <c:numRef>
              <c:f>Sheet1!$C$2:$C$4</c:f>
              <c:numCache>
                <c:formatCode>General</c:formatCode>
                <c:ptCount val="3"/>
                <c:pt idx="1">
                  <c:v>13.0</c:v>
                </c:pt>
                <c:pt idx="2">
                  <c:v>10.5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03</c:v>
                </c:pt>
                <c:pt idx="2">
                  <c:v>IX 62</c:v>
                </c:pt>
              </c:strCache>
            </c:strRef>
          </c:cat>
          <c:val>
            <c:numRef>
              <c:f>Sheet1!$D$2:$D$4</c:f>
              <c:numCache>
                <c:formatCode>General</c:formatCode>
                <c:ptCount val="3"/>
                <c:pt idx="0">
                  <c:v>11.4</c:v>
                </c:pt>
                <c:pt idx="1">
                  <c:v>7.57</c:v>
                </c:pt>
                <c:pt idx="2">
                  <c:v>7.5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ini Babybe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03</c:v>
                </c:pt>
                <c:pt idx="2">
                  <c:v>IX 62</c:v>
                </c:pt>
              </c:strCache>
            </c:strRef>
          </c:cat>
          <c:val>
            <c:numRef>
              <c:f>Sheet1!$E$2:$E$4</c:f>
              <c:numCache>
                <c:formatCode>General</c:formatCode>
                <c:ptCount val="3"/>
                <c:pt idx="2">
                  <c:v>17.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t Moret</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03</c:v>
                </c:pt>
                <c:pt idx="2">
                  <c:v>IX 62</c:v>
                </c:pt>
              </c:strCache>
            </c:strRef>
          </c:cat>
          <c:val>
            <c:numRef>
              <c:f>Sheet1!$F$2:$F$4</c:f>
              <c:numCache>
                <c:formatCode>General</c:formatCode>
                <c:ptCount val="3"/>
                <c:pt idx="1">
                  <c:v>12.6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7.7013"/>
          <c:min val="7.058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2</c:v>
                </c:pt>
                <c:pt idx="1">
                  <c:v>IX 100</c:v>
                </c:pt>
                <c:pt idx="2">
                  <c:v>IX 174</c:v>
                </c:pt>
              </c:strCache>
            </c:strRef>
          </c:cat>
          <c:val>
            <c:numRef>
              <c:f>Sheet1!$B$2:$B$4</c:f>
              <c:numCache>
                <c:formatCode>General</c:formatCode>
                <c:ptCount val="3"/>
                <c:pt idx="0">
                  <c:v>11.57</c:v>
                </c:pt>
                <c:pt idx="1">
                  <c:v>20.26</c:v>
                </c:pt>
                <c:pt idx="2">
                  <c:v>7.7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42</a:t>
                    </a:r>
                  </a:p>
                  <a:p>
                    <a:r>
                      <a:t>13.93</a:t>
                    </a:r>
                  </a:p>
                </c:rich>
              </c:tx>
              <c:dLblPos val="l"/>
              <c:showLegendKey val="0"/>
              <c:showVal val="1"/>
              <c:showCatName val="0"/>
              <c:showSerName val="0"/>
              <c:showPercent val="0"/>
              <c:showBubbleSize val="0"/>
            </c:dLbl>
            <c:dLbl>
              <c:idx val="1"/>
              <c:tx>
                <c:rich>
                  <a:bodyPr/>
                  <a:lstStyle/>
                  <a:p>
                    <a:r>
                      <a:t>IX 100</a:t>
                    </a:r>
                  </a:p>
                  <a:p>
                    <a:r>
                      <a:t>19.48</a:t>
                    </a:r>
                  </a:p>
                </c:rich>
              </c:tx>
              <c:dLblPos val="l"/>
              <c:showLegendKey val="0"/>
              <c:showVal val="1"/>
              <c:showCatName val="0"/>
              <c:showSerName val="0"/>
              <c:showPercent val="0"/>
              <c:showBubbleSize val="0"/>
            </c:dLbl>
            <c:dLbl>
              <c:idx val="2"/>
              <c:tx>
                <c:rich>
                  <a:bodyPr/>
                  <a:lstStyle/>
                  <a:p>
                    <a:r>
                      <a:t>IX 174</a:t>
                    </a:r>
                  </a:p>
                  <a:p>
                    <a:r>
                      <a:t>11.3</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2</c:v>
                </c:pt>
                <c:pt idx="1">
                  <c:v>IX 100</c:v>
                </c:pt>
                <c:pt idx="2">
                  <c:v>IX 174</c:v>
                </c:pt>
              </c:strCache>
            </c:strRef>
          </c:cat>
          <c:val>
            <c:numRef>
              <c:f>Sheet1!$C$2:$C$4</c:f>
              <c:numCache>
                <c:formatCode>General</c:formatCode>
                <c:ptCount val="3"/>
                <c:pt idx="0">
                  <c:v>13.93</c:v>
                </c:pt>
                <c:pt idx="1">
                  <c:v>19.48</c:v>
                </c:pt>
                <c:pt idx="2">
                  <c:v>11.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dd</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2</c:v>
                </c:pt>
                <c:pt idx="1">
                  <c:v>IX 100</c:v>
                </c:pt>
                <c:pt idx="2">
                  <c:v>IX 174</c:v>
                </c:pt>
              </c:strCache>
            </c:strRef>
          </c:cat>
          <c:val>
            <c:numRef>
              <c:f>Sheet1!$D$2:$D$4</c:f>
              <c:numCache>
                <c:formatCode>General</c:formatCode>
                <c:ptCount val="3"/>
                <c:pt idx="0">
                  <c:v>9.8</c:v>
                </c:pt>
                <c:pt idx="1">
                  <c:v>19.78</c:v>
                </c:pt>
                <c:pt idx="2">
                  <c:v>6.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ctali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2</c:v>
                </c:pt>
                <c:pt idx="1">
                  <c:v>IX 100</c:v>
                </c:pt>
                <c:pt idx="2">
                  <c:v>IX 174</c:v>
                </c:pt>
              </c:strCache>
            </c:strRef>
          </c:cat>
          <c:val>
            <c:numRef>
              <c:f>Sheet1!$E$2:$E$4</c:f>
              <c:numCache>
                <c:formatCode>General</c:formatCode>
                <c:ptCount val="3"/>
                <c:pt idx="0">
                  <c:v>12.11</c:v>
                </c:pt>
                <c:pt idx="1">
                  <c:v>46.33</c:v>
                </c:pt>
                <c:pt idx="2">
                  <c:v>9.0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es Mousquetaire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2</c:v>
                </c:pt>
                <c:pt idx="1">
                  <c:v>IX 100</c:v>
                </c:pt>
                <c:pt idx="2">
                  <c:v>IX 174</c:v>
                </c:pt>
              </c:strCache>
            </c:strRef>
          </c:cat>
          <c:val>
            <c:numRef>
              <c:f>Sheet1!$F$2:$F$4</c:f>
              <c:numCache>
                <c:formatCode>General</c:formatCode>
                <c:ptCount val="3"/>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8333"/>
          <c:min val="5.998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5</c:v>
                </c:pt>
                <c:pt idx="1">
                  <c:v>IX 120</c:v>
                </c:pt>
                <c:pt idx="2">
                  <c:v/>
                </c:pt>
              </c:strCache>
            </c:strRef>
          </c:cat>
          <c:val>
            <c:numRef>
              <c:f>Sheet1!$B$2:$B$4</c:f>
              <c:numCache>
                <c:formatCode>General</c:formatCode>
                <c:ptCount val="3"/>
                <c:pt idx="0">
                  <c:v>12.74</c:v>
                </c:pt>
                <c:pt idx="1">
                  <c:v>11.11</c:v>
                </c:pt>
                <c:pt idx="2">
                  <c:v>12.1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oursi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65</a:t>
                    </a:r>
                  </a:p>
                  <a:p>
                    <a:r>
                      <a:t>18.77</a:t>
                    </a:r>
                  </a:p>
                </c:rich>
              </c:tx>
              <c:dLblPos val="l"/>
              <c:showLegendKey val="0"/>
              <c:showVal val="1"/>
              <c:showCatName val="0"/>
              <c:showSerName val="0"/>
              <c:showPercent val="0"/>
              <c:showBubbleSize val="0"/>
            </c:dLbl>
            <c:dLbl>
              <c:idx val="1"/>
              <c:tx>
                <c:rich>
                  <a:bodyPr/>
                  <a:lstStyle/>
                  <a:p>
                    <a:r>
                      <a:t>IX 120</a:t>
                    </a:r>
                  </a:p>
                  <a:p>
                    <a:r>
                      <a:t>15.16</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5</c:v>
                </c:pt>
                <c:pt idx="1">
                  <c:v>IX 120</c:v>
                </c:pt>
                <c:pt idx="2">
                  <c:v/>
                </c:pt>
              </c:strCache>
            </c:strRef>
          </c:cat>
          <c:val>
            <c:numRef>
              <c:f>Sheet1!$C$2:$C$4</c:f>
              <c:numCache>
                <c:formatCode>General</c:formatCode>
                <c:ptCount val="3"/>
                <c:pt idx="0">
                  <c:v>18.77</c:v>
                </c:pt>
                <c:pt idx="1">
                  <c:v>15.1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5</c:v>
                </c:pt>
                <c:pt idx="1">
                  <c:v>IX 120</c:v>
                </c:pt>
                <c:pt idx="2">
                  <c:v/>
                </c:pt>
              </c:strCache>
            </c:strRef>
          </c:cat>
          <c:val>
            <c:numRef>
              <c:f>Sheet1!$D$2:$D$4</c:f>
              <c:numCache>
                <c:formatCode>General</c:formatCode>
                <c:ptCount val="3"/>
                <c:pt idx="0">
                  <c:v>11.4</c:v>
                </c:pt>
                <c:pt idx="1">
                  <c:v>7.57</c:v>
                </c:pt>
                <c:pt idx="2">
                  <c:v>7.5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ini Babybe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5</c:v>
                </c:pt>
                <c:pt idx="1">
                  <c:v>IX 120</c:v>
                </c:pt>
                <c:pt idx="2">
                  <c:v/>
                </c:pt>
              </c:strCache>
            </c:strRef>
          </c:cat>
          <c:val>
            <c:numRef>
              <c:f>Sheet1!$E$2:$E$4</c:f>
              <c:numCache>
                <c:formatCode>General</c:formatCode>
                <c:ptCount val="3"/>
                <c:pt idx="2">
                  <c:v>17.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t Moret</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5</c:v>
                </c:pt>
                <c:pt idx="1">
                  <c:v>IX 120</c:v>
                </c:pt>
                <c:pt idx="2">
                  <c:v/>
                </c:pt>
              </c:strCache>
            </c:strRef>
          </c:cat>
          <c:val>
            <c:numRef>
              <c:f>Sheet1!$F$2:$F$4</c:f>
              <c:numCache>
                <c:formatCode>General</c:formatCode>
                <c:ptCount val="3"/>
                <c:pt idx="1">
                  <c:v>12.6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9.2723"/>
          <c:min val="7.058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26</c:v>
                </c:pt>
                <c:pt idx="2">
                  <c:v>IX 73</c:v>
                </c:pt>
              </c:strCache>
            </c:strRef>
          </c:cat>
          <c:val>
            <c:numRef>
              <c:f>Sheet1!$B$2:$B$4</c:f>
              <c:numCache>
                <c:formatCode>General</c:formatCode>
                <c:ptCount val="3"/>
                <c:pt idx="0">
                  <c:v>13.83</c:v>
                </c:pt>
                <c:pt idx="1">
                  <c:v>12.02</c:v>
                </c:pt>
                <c:pt idx="2">
                  <c:v>12.5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Kiri</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26</a:t>
                    </a:r>
                  </a:p>
                  <a:p>
                    <a:r>
                      <a:t>16.92</a:t>
                    </a:r>
                  </a:p>
                </c:rich>
              </c:tx>
              <c:dLblPos val="l"/>
              <c:showLegendKey val="0"/>
              <c:showVal val="1"/>
              <c:showCatName val="0"/>
              <c:showSerName val="0"/>
              <c:showPercent val="0"/>
              <c:showBubbleSize val="0"/>
            </c:dLbl>
            <c:dLbl>
              <c:idx val="2"/>
              <c:tx>
                <c:rich>
                  <a:bodyPr/>
                  <a:lstStyle/>
                  <a:p>
                    <a:r>
                      <a:t>IX 73</a:t>
                    </a:r>
                  </a:p>
                  <a:p>
                    <a:r>
                      <a:t>12.31</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26</c:v>
                </c:pt>
                <c:pt idx="2">
                  <c:v>IX 73</c:v>
                </c:pt>
              </c:strCache>
            </c:strRef>
          </c:cat>
          <c:val>
            <c:numRef>
              <c:f>Sheet1!$C$2:$C$4</c:f>
              <c:numCache>
                <c:formatCode>General</c:formatCode>
                <c:ptCount val="3"/>
                <c:pt idx="1">
                  <c:v>16.92</c:v>
                </c:pt>
                <c:pt idx="2">
                  <c:v>12.3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26</c:v>
                </c:pt>
                <c:pt idx="2">
                  <c:v>IX 73</c:v>
                </c:pt>
              </c:strCache>
            </c:strRef>
          </c:cat>
          <c:val>
            <c:numRef>
              <c:f>Sheet1!$D$2:$D$4</c:f>
              <c:numCache>
                <c:formatCode>General</c:formatCode>
                <c:ptCount val="3"/>
                <c:pt idx="0">
                  <c:v>12.42</c:v>
                </c:pt>
                <c:pt idx="1">
                  <c:v>8.33</c:v>
                </c:pt>
                <c:pt idx="2">
                  <c:v>8.4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t Moret</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26</c:v>
                </c:pt>
                <c:pt idx="2">
                  <c:v>IX 73</c:v>
                </c:pt>
              </c:strCache>
            </c:strRef>
          </c:cat>
          <c:val>
            <c:numRef>
              <c:f>Sheet1!$E$2:$E$4</c:f>
              <c:numCache>
                <c:formatCode>General</c:formatCode>
                <c:ptCount val="3"/>
                <c:pt idx="1">
                  <c:v>13.44</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ini Babybe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26</c:v>
                </c:pt>
                <c:pt idx="2">
                  <c:v>IX 73</c:v>
                </c:pt>
              </c:strCache>
            </c:strRef>
          </c:cat>
          <c:val>
            <c:numRef>
              <c:f>Sheet1!$F$2:$F$4</c:f>
              <c:numCache>
                <c:formatCode>General</c:formatCode>
                <c:ptCount val="3"/>
                <c:pt idx="2">
                  <c:v>16.8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7.4212"/>
          <c:min val="7.8348999999999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97</c:v>
                </c:pt>
                <c:pt idx="2">
                  <c:v>IX 100</c:v>
                </c:pt>
              </c:strCache>
            </c:strRef>
          </c:cat>
          <c:val>
            <c:numRef>
              <c:f>Sheet1!$B$2:$B$4</c:f>
              <c:numCache>
                <c:formatCode>General</c:formatCode>
                <c:ptCount val="3"/>
                <c:pt idx="0">
                  <c:v>13.83</c:v>
                </c:pt>
                <c:pt idx="1">
                  <c:v>12.02</c:v>
                </c:pt>
                <c:pt idx="2">
                  <c:v>12.5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La Vache Qui Ri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97</a:t>
                    </a:r>
                  </a:p>
                  <a:p>
                    <a:r>
                      <a:t>13.0</a:t>
                    </a:r>
                  </a:p>
                </c:rich>
              </c:tx>
              <c:dLblPos val="l"/>
              <c:showLegendKey val="0"/>
              <c:showVal val="1"/>
              <c:showCatName val="0"/>
              <c:showSerName val="0"/>
              <c:showPercent val="0"/>
              <c:showBubbleSize val="0"/>
            </c:dLbl>
            <c:dLbl>
              <c:idx val="2"/>
              <c:tx>
                <c:rich>
                  <a:bodyPr/>
                  <a:lstStyle/>
                  <a:p>
                    <a:r>
                      <a:t>IX 100</a:t>
                    </a:r>
                  </a:p>
                  <a:p>
                    <a:r>
                      <a:t>10.22</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97</c:v>
                </c:pt>
                <c:pt idx="2">
                  <c:v>IX 100</c:v>
                </c:pt>
              </c:strCache>
            </c:strRef>
          </c:cat>
          <c:val>
            <c:numRef>
              <c:f>Sheet1!$C$2:$C$4</c:f>
              <c:numCache>
                <c:formatCode>General</c:formatCode>
                <c:ptCount val="3"/>
                <c:pt idx="1">
                  <c:v>13.0</c:v>
                </c:pt>
                <c:pt idx="2">
                  <c:v>10.2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97</c:v>
                </c:pt>
                <c:pt idx="2">
                  <c:v>IX 100</c:v>
                </c:pt>
              </c:strCache>
            </c:strRef>
          </c:cat>
          <c:val>
            <c:numRef>
              <c:f>Sheet1!$D$2:$D$4</c:f>
              <c:numCache>
                <c:formatCode>General</c:formatCode>
                <c:ptCount val="3"/>
                <c:pt idx="0">
                  <c:v>12.42</c:v>
                </c:pt>
                <c:pt idx="1">
                  <c:v>8.33</c:v>
                </c:pt>
                <c:pt idx="2">
                  <c:v>8.4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ini Babybe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97</c:v>
                </c:pt>
                <c:pt idx="2">
                  <c:v>IX 100</c:v>
                </c:pt>
              </c:strCache>
            </c:strRef>
          </c:cat>
          <c:val>
            <c:numRef>
              <c:f>Sheet1!$E$2:$E$4</c:f>
              <c:numCache>
                <c:formatCode>General</c:formatCode>
                <c:ptCount val="3"/>
                <c:pt idx="2">
                  <c:v>16.8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t Moret</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97</c:v>
                </c:pt>
                <c:pt idx="2">
                  <c:v>IX 100</c:v>
                </c:pt>
              </c:strCache>
            </c:strRef>
          </c:cat>
          <c:val>
            <c:numRef>
              <c:f>Sheet1!$F$2:$F$4</c:f>
              <c:numCache>
                <c:formatCode>General</c:formatCode>
                <c:ptCount val="3"/>
                <c:pt idx="1">
                  <c:v>13.4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7.3303"/>
          <c:min val="7.8348999999999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5</c:v>
                </c:pt>
                <c:pt idx="1">
                  <c:v>IX 117</c:v>
                </c:pt>
                <c:pt idx="2">
                  <c:v/>
                </c:pt>
              </c:strCache>
            </c:strRef>
          </c:cat>
          <c:val>
            <c:numRef>
              <c:f>Sheet1!$B$2:$B$4</c:f>
              <c:numCache>
                <c:formatCode>General</c:formatCode>
                <c:ptCount val="3"/>
                <c:pt idx="0">
                  <c:v>13.83</c:v>
                </c:pt>
                <c:pt idx="1">
                  <c:v>12.02</c:v>
                </c:pt>
                <c:pt idx="2">
                  <c:v>12.5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oursi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45</a:t>
                    </a:r>
                  </a:p>
                  <a:p>
                    <a:r>
                      <a:t>18.04</a:t>
                    </a:r>
                  </a:p>
                </c:rich>
              </c:tx>
              <c:dLblPos val="l"/>
              <c:showLegendKey val="0"/>
              <c:showVal val="1"/>
              <c:showCatName val="0"/>
              <c:showSerName val="0"/>
              <c:showPercent val="0"/>
              <c:showBubbleSize val="0"/>
            </c:dLbl>
            <c:dLbl>
              <c:idx val="1"/>
              <c:tx>
                <c:rich>
                  <a:bodyPr/>
                  <a:lstStyle/>
                  <a:p>
                    <a:r>
                      <a:t>IX 117</a:t>
                    </a:r>
                  </a:p>
                  <a:p>
                    <a:r>
                      <a:t>15.66</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5</c:v>
                </c:pt>
                <c:pt idx="1">
                  <c:v>IX 117</c:v>
                </c:pt>
                <c:pt idx="2">
                  <c:v/>
                </c:pt>
              </c:strCache>
            </c:strRef>
          </c:cat>
          <c:val>
            <c:numRef>
              <c:f>Sheet1!$C$2:$C$4</c:f>
              <c:numCache>
                <c:formatCode>General</c:formatCode>
                <c:ptCount val="3"/>
                <c:pt idx="0">
                  <c:v>18.04</c:v>
                </c:pt>
                <c:pt idx="1">
                  <c:v>15.6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5</c:v>
                </c:pt>
                <c:pt idx="1">
                  <c:v>IX 117</c:v>
                </c:pt>
                <c:pt idx="2">
                  <c:v/>
                </c:pt>
              </c:strCache>
            </c:strRef>
          </c:cat>
          <c:val>
            <c:numRef>
              <c:f>Sheet1!$D$2:$D$4</c:f>
              <c:numCache>
                <c:formatCode>General</c:formatCode>
                <c:ptCount val="3"/>
                <c:pt idx="0">
                  <c:v>12.42</c:v>
                </c:pt>
                <c:pt idx="1">
                  <c:v>8.33</c:v>
                </c:pt>
                <c:pt idx="2">
                  <c:v>8.4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ini Babybe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5</c:v>
                </c:pt>
                <c:pt idx="1">
                  <c:v>IX 117</c:v>
                </c:pt>
                <c:pt idx="2">
                  <c:v/>
                </c:pt>
              </c:strCache>
            </c:strRef>
          </c:cat>
          <c:val>
            <c:numRef>
              <c:f>Sheet1!$E$2:$E$4</c:f>
              <c:numCache>
                <c:formatCode>General</c:formatCode>
                <c:ptCount val="3"/>
                <c:pt idx="2">
                  <c:v>16.8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t Moret</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5</c:v>
                </c:pt>
                <c:pt idx="1">
                  <c:v>IX 117</c:v>
                </c:pt>
                <c:pt idx="2">
                  <c:v/>
                </c:pt>
              </c:strCache>
            </c:strRef>
          </c:cat>
          <c:val>
            <c:numRef>
              <c:f>Sheet1!$F$2:$F$4</c:f>
              <c:numCache>
                <c:formatCode>General</c:formatCode>
                <c:ptCount val="3"/>
                <c:pt idx="1">
                  <c:v>13.4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8.5355"/>
          <c:min val="7.8348999999999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52</c:v>
                </c:pt>
                <c:pt idx="2">
                  <c:v>IX 100</c:v>
                </c:pt>
              </c:strCache>
            </c:strRef>
          </c:cat>
          <c:val>
            <c:numRef>
              <c:f>Sheet1!$B$2:$B$4</c:f>
              <c:numCache>
                <c:formatCode>General</c:formatCode>
                <c:ptCount val="3"/>
                <c:pt idx="0">
                  <c:v>12.42</c:v>
                </c:pt>
                <c:pt idx="1">
                  <c:v>11.77</c:v>
                </c:pt>
                <c:pt idx="2">
                  <c:v>12.8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Kiri</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52</a:t>
                    </a:r>
                  </a:p>
                  <a:p>
                    <a:r>
                      <a:t>19.27</a:t>
                    </a:r>
                  </a:p>
                </c:rich>
              </c:tx>
              <c:dLblPos val="l"/>
              <c:showLegendKey val="0"/>
              <c:showVal val="1"/>
              <c:showCatName val="0"/>
              <c:showSerName val="0"/>
              <c:showPercent val="0"/>
              <c:showBubbleSize val="0"/>
            </c:dLbl>
            <c:dLbl>
              <c:idx val="2"/>
              <c:tx>
                <c:rich>
                  <a:bodyPr/>
                  <a:lstStyle/>
                  <a:p>
                    <a:r>
                      <a:t>IX 100</a:t>
                    </a:r>
                  </a:p>
                  <a:p>
                    <a:r>
                      <a:t>13.16</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52</c:v>
                </c:pt>
                <c:pt idx="2">
                  <c:v>IX 100</c:v>
                </c:pt>
              </c:strCache>
            </c:strRef>
          </c:cat>
          <c:val>
            <c:numRef>
              <c:f>Sheet1!$C$2:$C$4</c:f>
              <c:numCache>
                <c:formatCode>General</c:formatCode>
                <c:ptCount val="3"/>
                <c:pt idx="1">
                  <c:v>19.27</c:v>
                </c:pt>
                <c:pt idx="2">
                  <c:v>13.1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52</c:v>
                </c:pt>
                <c:pt idx="2">
                  <c:v>IX 100</c:v>
                </c:pt>
              </c:strCache>
            </c:strRef>
          </c:cat>
          <c:val>
            <c:numRef>
              <c:f>Sheet1!$D$2:$D$4</c:f>
              <c:numCache>
                <c:formatCode>General</c:formatCode>
                <c:ptCount val="3"/>
                <c:pt idx="0">
                  <c:v>10.86</c:v>
                </c:pt>
                <c:pt idx="1">
                  <c:v>7.96</c:v>
                </c:pt>
                <c:pt idx="2">
                  <c:v>8.0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oigno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52</c:v>
                </c:pt>
                <c:pt idx="2">
                  <c:v>IX 100</c:v>
                </c:pt>
              </c:strCache>
            </c:strRef>
          </c:cat>
          <c:val>
            <c:numRef>
              <c:f>Sheet1!$E$2:$E$4</c:f>
              <c:numCache>
                <c:formatCode>General</c:formatCode>
                <c:ptCount val="3"/>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t Moret</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52</c:v>
                </c:pt>
                <c:pt idx="2">
                  <c:v>IX 100</c:v>
                </c:pt>
              </c:strCache>
            </c:strRef>
          </c:cat>
          <c:val>
            <c:numRef>
              <c:f>Sheet1!$F$2:$F$4</c:f>
              <c:numCache>
                <c:formatCode>General</c:formatCode>
                <c:ptCount val="3"/>
                <c:pt idx="1">
                  <c:v>12.66</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9.7723"/>
          <c:min val="7.458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100</c:v>
                </c:pt>
              </c:strCache>
            </c:strRef>
          </c:cat>
          <c:val>
            <c:numRef>
              <c:f>Sheet1!$B$2:$B$4</c:f>
              <c:numCache>
                <c:formatCode>General</c:formatCode>
                <c:ptCount val="3"/>
                <c:pt idx="0">
                  <c:v>12.42</c:v>
                </c:pt>
                <c:pt idx="1">
                  <c:v>11.77</c:v>
                </c:pt>
                <c:pt idx="2">
                  <c:v>12.8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La Vache Qui Ri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1.27</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100</c:v>
                </c:pt>
              </c:strCache>
            </c:strRef>
          </c:cat>
          <c:val>
            <c:numRef>
              <c:f>Sheet1!$C$2:$C$4</c:f>
              <c:numCache>
                <c:formatCode>General</c:formatCode>
                <c:ptCount val="3"/>
                <c:pt idx="2">
                  <c:v>11.2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100</c:v>
                </c:pt>
              </c:strCache>
            </c:strRef>
          </c:cat>
          <c:val>
            <c:numRef>
              <c:f>Sheet1!$D$2:$D$4</c:f>
              <c:numCache>
                <c:formatCode>General</c:formatCode>
                <c:ptCount val="3"/>
                <c:pt idx="0">
                  <c:v>10.86</c:v>
                </c:pt>
                <c:pt idx="1">
                  <c:v>7.96</c:v>
                </c:pt>
                <c:pt idx="2">
                  <c:v>8.0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oigno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100</c:v>
                </c:pt>
              </c:strCache>
            </c:strRef>
          </c:cat>
          <c:val>
            <c:numRef>
              <c:f>Sheet1!$E$2:$E$4</c:f>
              <c:numCache>
                <c:formatCode>General</c:formatCode>
                <c:ptCount val="3"/>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t Moret</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100</c:v>
                </c:pt>
              </c:strCache>
            </c:strRef>
          </c:cat>
          <c:val>
            <c:numRef>
              <c:f>Sheet1!$F$2:$F$4</c:f>
              <c:numCache>
                <c:formatCode>General</c:formatCode>
                <c:ptCount val="3"/>
                <c:pt idx="1">
                  <c:v>12.66</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3.3139"/>
          <c:min val="7.458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6</c:v>
                </c:pt>
                <c:pt idx="1">
                  <c:v>IX 123</c:v>
                </c:pt>
                <c:pt idx="2">
                  <c:v/>
                </c:pt>
              </c:strCache>
            </c:strRef>
          </c:cat>
          <c:val>
            <c:numRef>
              <c:f>Sheet1!$B$2:$B$4</c:f>
              <c:numCache>
                <c:formatCode>General</c:formatCode>
                <c:ptCount val="3"/>
                <c:pt idx="0">
                  <c:v>12.42</c:v>
                </c:pt>
                <c:pt idx="1">
                  <c:v>11.77</c:v>
                </c:pt>
                <c:pt idx="2">
                  <c:v>12.8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oursi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86</a:t>
                    </a:r>
                  </a:p>
                  <a:p>
                    <a:r>
                      <a:t>20.2</a:t>
                    </a:r>
                  </a:p>
                </c:rich>
              </c:tx>
              <c:dLblPos val="l"/>
              <c:showLegendKey val="0"/>
              <c:showVal val="1"/>
              <c:showCatName val="0"/>
              <c:showSerName val="0"/>
              <c:showPercent val="0"/>
              <c:showBubbleSize val="0"/>
            </c:dLbl>
            <c:dLbl>
              <c:idx val="1"/>
              <c:tx>
                <c:rich>
                  <a:bodyPr/>
                  <a:lstStyle/>
                  <a:p>
                    <a:r>
                      <a:t>IX 123</a:t>
                    </a:r>
                  </a:p>
                  <a:p>
                    <a:r>
                      <a:t>15.52</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6</c:v>
                </c:pt>
                <c:pt idx="1">
                  <c:v>IX 123</c:v>
                </c:pt>
                <c:pt idx="2">
                  <c:v/>
                </c:pt>
              </c:strCache>
            </c:strRef>
          </c:cat>
          <c:val>
            <c:numRef>
              <c:f>Sheet1!$C$2:$C$4</c:f>
              <c:numCache>
                <c:formatCode>General</c:formatCode>
                <c:ptCount val="3"/>
                <c:pt idx="0">
                  <c:v>20.2</c:v>
                </c:pt>
                <c:pt idx="1">
                  <c:v>15.5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6</c:v>
                </c:pt>
                <c:pt idx="1">
                  <c:v>IX 123</c:v>
                </c:pt>
                <c:pt idx="2">
                  <c:v/>
                </c:pt>
              </c:strCache>
            </c:strRef>
          </c:cat>
          <c:val>
            <c:numRef>
              <c:f>Sheet1!$D$2:$D$4</c:f>
              <c:numCache>
                <c:formatCode>General</c:formatCode>
                <c:ptCount val="3"/>
                <c:pt idx="0">
                  <c:v>10.86</c:v>
                </c:pt>
                <c:pt idx="1">
                  <c:v>7.96</c:v>
                </c:pt>
                <c:pt idx="2">
                  <c:v>8.0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oigno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6</c:v>
                </c:pt>
                <c:pt idx="1">
                  <c:v>IX 123</c:v>
                </c:pt>
                <c:pt idx="2">
                  <c:v/>
                </c:pt>
              </c:strCache>
            </c:strRef>
          </c:cat>
          <c:val>
            <c:numRef>
              <c:f>Sheet1!$E$2:$E$4</c:f>
              <c:numCache>
                <c:formatCode>General</c:formatCode>
                <c:ptCount val="3"/>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t Moret</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6</c:v>
                </c:pt>
                <c:pt idx="1">
                  <c:v>IX 123</c:v>
                </c:pt>
                <c:pt idx="2">
                  <c:v/>
                </c:pt>
              </c:strCache>
            </c:strRef>
          </c:cat>
          <c:val>
            <c:numRef>
              <c:f>Sheet1!$F$2:$F$4</c:f>
              <c:numCache>
                <c:formatCode>General</c:formatCode>
                <c:ptCount val="3"/>
                <c:pt idx="1">
                  <c:v>12.66</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7014"/>
          <c:min val="7.458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9</c:v>
                </c:pt>
                <c:pt idx="1">
                  <c:v>IX 122</c:v>
                </c:pt>
                <c:pt idx="2">
                  <c:v>IX 100</c:v>
                </c:pt>
              </c:strCache>
            </c:strRef>
          </c:cat>
          <c:val>
            <c:numRef>
              <c:f>Sheet1!$B$2:$B$4</c:f>
              <c:numCache>
                <c:formatCode>General</c:formatCode>
                <c:ptCount val="3"/>
                <c:pt idx="0">
                  <c:v>13.25</c:v>
                </c:pt>
                <c:pt idx="1">
                  <c:v>11.61</c:v>
                </c:pt>
                <c:pt idx="2">
                  <c:v>12.5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69</a:t>
                    </a:r>
                  </a:p>
                  <a:p>
                    <a:r>
                      <a:t>19.95</a:t>
                    </a:r>
                  </a:p>
                </c:rich>
              </c:tx>
              <c:dLblPos val="l"/>
              <c:showLegendKey val="0"/>
              <c:showVal val="1"/>
              <c:showCatName val="0"/>
              <c:showSerName val="0"/>
              <c:showPercent val="0"/>
              <c:showBubbleSize val="0"/>
            </c:dLbl>
            <c:dLbl>
              <c:idx val="1"/>
              <c:tx>
                <c:rich>
                  <a:bodyPr/>
                  <a:lstStyle/>
                  <a:p>
                    <a:r>
                      <a:t>IX 122</a:t>
                    </a:r>
                  </a:p>
                  <a:p>
                    <a:r>
                      <a:t>15.83</a:t>
                    </a:r>
                  </a:p>
                </c:rich>
              </c:tx>
              <c:dLblPos val="l"/>
              <c:showLegendKey val="0"/>
              <c:showVal val="1"/>
              <c:showCatName val="0"/>
              <c:showSerName val="0"/>
              <c:showPercent val="0"/>
              <c:showBubbleSize val="0"/>
            </c:dLbl>
            <c:dLbl>
              <c:idx val="2"/>
              <c:tx>
                <c:rich>
                  <a:bodyPr/>
                  <a:lstStyle/>
                  <a:p>
                    <a:r>
                      <a:t>IX 100</a:t>
                    </a:r>
                  </a:p>
                  <a:p>
                    <a:r>
                      <a:t>13.55</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9</c:v>
                </c:pt>
                <c:pt idx="1">
                  <c:v>IX 122</c:v>
                </c:pt>
                <c:pt idx="2">
                  <c:v>IX 100</c:v>
                </c:pt>
              </c:strCache>
            </c:strRef>
          </c:cat>
          <c:val>
            <c:numRef>
              <c:f>Sheet1!$C$2:$C$4</c:f>
              <c:numCache>
                <c:formatCode>General</c:formatCode>
                <c:ptCount val="3"/>
                <c:pt idx="0">
                  <c:v>19.95</c:v>
                </c:pt>
                <c:pt idx="1">
                  <c:v>15.83</c:v>
                </c:pt>
                <c:pt idx="2">
                  <c:v>13.5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dd</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9</c:v>
                </c:pt>
                <c:pt idx="1">
                  <c:v>IX 122</c:v>
                </c:pt>
                <c:pt idx="2">
                  <c:v>IX 100</c:v>
                </c:pt>
              </c:strCache>
            </c:strRef>
          </c:cat>
          <c:val>
            <c:numRef>
              <c:f>Sheet1!$D$2:$D$4</c:f>
              <c:numCache>
                <c:formatCode>General</c:formatCode>
                <c:ptCount val="3"/>
                <c:pt idx="0">
                  <c:v>11.84</c:v>
                </c:pt>
                <c:pt idx="1">
                  <c:v>7.88</c:v>
                </c:pt>
                <c:pt idx="2">
                  <c:v>7.48</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ctali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9</c:v>
                </c:pt>
                <c:pt idx="1">
                  <c:v>IX 122</c:v>
                </c:pt>
                <c:pt idx="2">
                  <c:v>IX 100</c:v>
                </c:pt>
              </c:strCache>
            </c:strRef>
          </c:cat>
          <c:val>
            <c:numRef>
              <c:f>Sheet1!$E$2:$E$4</c:f>
              <c:numCache>
                <c:formatCode>General</c:formatCode>
                <c:ptCount val="3"/>
                <c:pt idx="0">
                  <c:v>13.74</c:v>
                </c:pt>
                <c:pt idx="1">
                  <c:v>14.17</c:v>
                </c:pt>
                <c:pt idx="2">
                  <c:v>9.4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avenci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9</c:v>
                </c:pt>
                <c:pt idx="1">
                  <c:v>IX 122</c:v>
                </c:pt>
                <c:pt idx="2">
                  <c:v>IX 100</c:v>
                </c:pt>
              </c:strCache>
            </c:strRef>
          </c:cat>
          <c:val>
            <c:numRef>
              <c:f>Sheet1!$F$2:$F$4</c:f>
              <c:numCache>
                <c:formatCode>General</c:formatCode>
                <c:ptCount val="3"/>
                <c:pt idx="0">
                  <c:v>19.41</c:v>
                </c:pt>
                <c:pt idx="1">
                  <c:v>12.96</c:v>
                </c:pt>
                <c:pt idx="2">
                  <c:v>17.31</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4484"/>
          <c:min val="6.977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7</c:v>
                </c:pt>
                <c:pt idx="1">
                  <c:v>IX 116</c:v>
                </c:pt>
                <c:pt idx="2">
                  <c:v>IX 100</c:v>
                </c:pt>
              </c:strCache>
            </c:strRef>
          </c:cat>
          <c:val>
            <c:numRef>
              <c:f>Sheet1!$B$2:$B$4</c:f>
              <c:numCache>
                <c:formatCode>General</c:formatCode>
                <c:ptCount val="3"/>
                <c:pt idx="0">
                  <c:v>14.5</c:v>
                </c:pt>
                <c:pt idx="1">
                  <c:v>12.51</c:v>
                </c:pt>
                <c:pt idx="2">
                  <c:v>13.59</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57</a:t>
                    </a:r>
                  </a:p>
                  <a:p>
                    <a:r>
                      <a:t>20.48</a:t>
                    </a:r>
                  </a:p>
                </c:rich>
              </c:tx>
              <c:dLblPos val="l"/>
              <c:showLegendKey val="0"/>
              <c:showVal val="1"/>
              <c:showCatName val="0"/>
              <c:showSerName val="0"/>
              <c:showPercent val="0"/>
              <c:showBubbleSize val="0"/>
            </c:dLbl>
            <c:dLbl>
              <c:idx val="1"/>
              <c:tx>
                <c:rich>
                  <a:bodyPr/>
                  <a:lstStyle/>
                  <a:p>
                    <a:r>
                      <a:t>IX 116</a:t>
                    </a:r>
                  </a:p>
                  <a:p>
                    <a:r>
                      <a:t>16.13</a:t>
                    </a:r>
                  </a:p>
                </c:rich>
              </c:tx>
              <c:dLblPos val="l"/>
              <c:showLegendKey val="0"/>
              <c:showVal val="1"/>
              <c:showCatName val="0"/>
              <c:showSerName val="0"/>
              <c:showPercent val="0"/>
              <c:showBubbleSize val="0"/>
            </c:dLbl>
            <c:dLbl>
              <c:idx val="2"/>
              <c:tx>
                <c:rich>
                  <a:bodyPr/>
                  <a:lstStyle/>
                  <a:p>
                    <a:r>
                      <a:t>IX 100</a:t>
                    </a:r>
                  </a:p>
                  <a:p>
                    <a:r>
                      <a:t>13.77</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7</c:v>
                </c:pt>
                <c:pt idx="1">
                  <c:v>IX 116</c:v>
                </c:pt>
                <c:pt idx="2">
                  <c:v>IX 100</c:v>
                </c:pt>
              </c:strCache>
            </c:strRef>
          </c:cat>
          <c:val>
            <c:numRef>
              <c:f>Sheet1!$C$2:$C$4</c:f>
              <c:numCache>
                <c:formatCode>General</c:formatCode>
                <c:ptCount val="3"/>
                <c:pt idx="0">
                  <c:v>20.48</c:v>
                </c:pt>
                <c:pt idx="1">
                  <c:v>16.13</c:v>
                </c:pt>
                <c:pt idx="2">
                  <c:v>13.7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dd</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7</c:v>
                </c:pt>
                <c:pt idx="1">
                  <c:v>IX 116</c:v>
                </c:pt>
                <c:pt idx="2">
                  <c:v>IX 100</c:v>
                </c:pt>
              </c:strCache>
            </c:strRef>
          </c:cat>
          <c:val>
            <c:numRef>
              <c:f>Sheet1!$D$2:$D$4</c:f>
              <c:numCache>
                <c:formatCode>General</c:formatCode>
                <c:ptCount val="3"/>
                <c:pt idx="0">
                  <c:v>13.01</c:v>
                </c:pt>
                <c:pt idx="1">
                  <c:v>8.45</c:v>
                </c:pt>
                <c:pt idx="2">
                  <c:v>8.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ctali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7</c:v>
                </c:pt>
                <c:pt idx="1">
                  <c:v>IX 116</c:v>
                </c:pt>
                <c:pt idx="2">
                  <c:v>IX 100</c:v>
                </c:pt>
              </c:strCache>
            </c:strRef>
          </c:cat>
          <c:val>
            <c:numRef>
              <c:f>Sheet1!$E$2:$E$4</c:f>
              <c:numCache>
                <c:formatCode>General</c:formatCode>
                <c:ptCount val="3"/>
                <c:pt idx="0">
                  <c:v>14.13</c:v>
                </c:pt>
                <c:pt idx="1">
                  <c:v>14.26</c:v>
                </c:pt>
                <c:pt idx="2">
                  <c:v>8.8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avenci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7</c:v>
                </c:pt>
                <c:pt idx="1">
                  <c:v>IX 116</c:v>
                </c:pt>
                <c:pt idx="2">
                  <c:v>IX 100</c:v>
                </c:pt>
              </c:strCache>
            </c:strRef>
          </c:cat>
          <c:val>
            <c:numRef>
              <c:f>Sheet1!$F$2:$F$4</c:f>
              <c:numCache>
                <c:formatCode>General</c:formatCode>
                <c:ptCount val="3"/>
                <c:pt idx="0">
                  <c:v>18.72</c:v>
                </c:pt>
                <c:pt idx="1">
                  <c:v>13.89</c:v>
                </c:pt>
                <c:pt idx="2">
                  <c:v>19.3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9796"/>
          <c:min val="7.9468999999999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4</c:v>
                </c:pt>
                <c:pt idx="1">
                  <c:v>IX 124</c:v>
                </c:pt>
                <c:pt idx="2">
                  <c:v>IX 100</c:v>
                </c:pt>
              </c:strCache>
            </c:strRef>
          </c:cat>
          <c:val>
            <c:numRef>
              <c:f>Sheet1!$B$2:$B$4</c:f>
              <c:numCache>
                <c:formatCode>General</c:formatCode>
                <c:ptCount val="3"/>
                <c:pt idx="0">
                  <c:v>12.43</c:v>
                </c:pt>
                <c:pt idx="1">
                  <c:v>11.91</c:v>
                </c:pt>
                <c:pt idx="2">
                  <c:v>13.1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84</a:t>
                    </a:r>
                  </a:p>
                  <a:p>
                    <a:r>
                      <a:t>20.33</a:t>
                    </a:r>
                  </a:p>
                </c:rich>
              </c:tx>
              <c:dLblPos val="l"/>
              <c:showLegendKey val="0"/>
              <c:showVal val="1"/>
              <c:showCatName val="0"/>
              <c:showSerName val="0"/>
              <c:showPercent val="0"/>
              <c:showBubbleSize val="0"/>
            </c:dLbl>
            <c:dLbl>
              <c:idx val="1"/>
              <c:tx>
                <c:rich>
                  <a:bodyPr/>
                  <a:lstStyle/>
                  <a:p>
                    <a:r>
                      <a:t>IX 124</a:t>
                    </a:r>
                  </a:p>
                  <a:p>
                    <a:r>
                      <a:t>16.07</a:t>
                    </a:r>
                  </a:p>
                </c:rich>
              </c:tx>
              <c:dLblPos val="l"/>
              <c:showLegendKey val="0"/>
              <c:showVal val="1"/>
              <c:showCatName val="0"/>
              <c:showSerName val="0"/>
              <c:showPercent val="0"/>
              <c:showBubbleSize val="0"/>
            </c:dLbl>
            <c:dLbl>
              <c:idx val="2"/>
              <c:tx>
                <c:rich>
                  <a:bodyPr/>
                  <a:lstStyle/>
                  <a:p>
                    <a:r>
                      <a:t>IX 100</a:t>
                    </a:r>
                  </a:p>
                  <a:p>
                    <a:r>
                      <a:t>13.91</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4</c:v>
                </c:pt>
                <c:pt idx="1">
                  <c:v>IX 124</c:v>
                </c:pt>
                <c:pt idx="2">
                  <c:v>IX 100</c:v>
                </c:pt>
              </c:strCache>
            </c:strRef>
          </c:cat>
          <c:val>
            <c:numRef>
              <c:f>Sheet1!$C$2:$C$4</c:f>
              <c:numCache>
                <c:formatCode>General</c:formatCode>
                <c:ptCount val="3"/>
                <c:pt idx="0">
                  <c:v>20.33</c:v>
                </c:pt>
                <c:pt idx="1">
                  <c:v>16.07</c:v>
                </c:pt>
                <c:pt idx="2">
                  <c:v>13.91</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dd</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4</c:v>
                </c:pt>
                <c:pt idx="1">
                  <c:v>IX 124</c:v>
                </c:pt>
                <c:pt idx="2">
                  <c:v>IX 100</c:v>
                </c:pt>
              </c:strCache>
            </c:strRef>
          </c:cat>
          <c:val>
            <c:numRef>
              <c:f>Sheet1!$D$2:$D$4</c:f>
              <c:numCache>
                <c:formatCode>General</c:formatCode>
                <c:ptCount val="3"/>
                <c:pt idx="0">
                  <c:v>11.03</c:v>
                </c:pt>
                <c:pt idx="1">
                  <c:v>8.11</c:v>
                </c:pt>
                <c:pt idx="2">
                  <c:v>8.08</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ctali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4</c:v>
                </c:pt>
                <c:pt idx="1">
                  <c:v>IX 124</c:v>
                </c:pt>
                <c:pt idx="2">
                  <c:v>IX 100</c:v>
                </c:pt>
              </c:strCache>
            </c:strRef>
          </c:cat>
          <c:val>
            <c:numRef>
              <c:f>Sheet1!$E$2:$E$4</c:f>
              <c:numCache>
                <c:formatCode>General</c:formatCode>
                <c:ptCount val="3"/>
                <c:pt idx="0">
                  <c:v>13.82</c:v>
                </c:pt>
                <c:pt idx="1">
                  <c:v>16.7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avenci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4</c:v>
                </c:pt>
                <c:pt idx="1">
                  <c:v>IX 124</c:v>
                </c:pt>
                <c:pt idx="2">
                  <c:v>IX 100</c:v>
                </c:pt>
              </c:strCache>
            </c:strRef>
          </c:cat>
          <c:val>
            <c:numRef>
              <c:f>Sheet1!$F$2:$F$4</c:f>
              <c:numCache>
                <c:formatCode>General</c:formatCode>
                <c:ptCount val="3"/>
                <c:pt idx="0">
                  <c:v>19.55</c:v>
                </c:pt>
                <c:pt idx="1">
                  <c:v>12.98</c:v>
                </c:pt>
                <c:pt idx="2">
                  <c:v>16.31</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8291"/>
          <c:min val="7.5765999999999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32</c:v>
                </c:pt>
                <c:pt idx="1">
                  <c:v/>
                </c:pt>
                <c:pt idx="2">
                  <c:v/>
                </c:pt>
              </c:strCache>
            </c:strRef>
          </c:cat>
          <c:val>
            <c:numRef>
              <c:f>Sheet1!$B$2:$B$4</c:f>
              <c:numCache>
                <c:formatCode>General</c:formatCode>
                <c:ptCount val="3"/>
                <c:pt idx="0">
                  <c:v>11.56</c:v>
                </c:pt>
                <c:pt idx="1">
                  <c:v>19.86</c:v>
                </c:pt>
                <c:pt idx="2">
                  <c:v>7.7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Kiri</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32</a:t>
                    </a:r>
                  </a:p>
                  <a:p>
                    <a:r>
                      <a:t>13.06</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32</c:v>
                </c:pt>
                <c:pt idx="1">
                  <c:v/>
                </c:pt>
                <c:pt idx="2">
                  <c:v/>
                </c:pt>
              </c:strCache>
            </c:strRef>
          </c:cat>
          <c:val>
            <c:numRef>
              <c:f>Sheet1!$C$2:$C$4</c:f>
              <c:numCache>
                <c:formatCode>General</c:formatCode>
                <c:ptCount val="3"/>
                <c:pt idx="0">
                  <c:v>13.0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32</c:v>
                </c:pt>
                <c:pt idx="1">
                  <c:v/>
                </c:pt>
                <c:pt idx="2">
                  <c:v/>
                </c:pt>
              </c:strCache>
            </c:strRef>
          </c:cat>
          <c:val>
            <c:numRef>
              <c:f>Sheet1!$D$2:$D$4</c:f>
              <c:numCache>
                <c:formatCode>General</c:formatCode>
                <c:ptCount val="3"/>
                <c:pt idx="0">
                  <c:v>9.9</c:v>
                </c:pt>
                <c:pt idx="1">
                  <c:v>25.94</c:v>
                </c:pt>
                <c:pt idx="2">
                  <c:v>6.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Top Budget</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32</c:v>
                </c:pt>
                <c:pt idx="1">
                  <c:v/>
                </c:pt>
                <c:pt idx="2">
                  <c:v/>
                </c:pt>
              </c:strCache>
            </c:strRef>
          </c:cat>
          <c:val>
            <c:numRef>
              <c:f>Sheet1!$E$2:$E$4</c:f>
              <c:numCache>
                <c:formatCode>General</c:formatCode>
                <c:ptCount val="3"/>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Paturage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32</c:v>
                </c:pt>
                <c:pt idx="1">
                  <c:v/>
                </c:pt>
                <c:pt idx="2">
                  <c:v/>
                </c:pt>
              </c:strCache>
            </c:strRef>
          </c:cat>
          <c:val>
            <c:numRef>
              <c:f>Sheet1!$F$2:$F$4</c:f>
              <c:numCache>
                <c:formatCode>General</c:formatCode>
                <c:ptCount val="3"/>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6.4407"/>
          <c:min val="5.997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37</c:v>
                </c:pt>
                <c:pt idx="2">
                  <c:v>IX 74</c:v>
                </c:pt>
              </c:strCache>
            </c:strRef>
          </c:cat>
          <c:val>
            <c:numRef>
              <c:f>Sheet1!$B$2:$B$4</c:f>
              <c:numCache>
                <c:formatCode>General</c:formatCode>
                <c:ptCount val="3"/>
                <c:pt idx="0">
                  <c:v>13.25</c:v>
                </c:pt>
                <c:pt idx="1">
                  <c:v>11.61</c:v>
                </c:pt>
                <c:pt idx="2">
                  <c:v>12.5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Kiri</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37</a:t>
                    </a:r>
                  </a:p>
                  <a:p>
                    <a:r>
                      <a:t>17.72</a:t>
                    </a:r>
                  </a:p>
                </c:rich>
              </c:tx>
              <c:dLblPos val="l"/>
              <c:showLegendKey val="0"/>
              <c:showVal val="1"/>
              <c:showCatName val="0"/>
              <c:showSerName val="0"/>
              <c:showPercent val="0"/>
              <c:showBubbleSize val="0"/>
            </c:dLbl>
            <c:dLbl>
              <c:idx val="2"/>
              <c:tx>
                <c:rich>
                  <a:bodyPr/>
                  <a:lstStyle/>
                  <a:p>
                    <a:r>
                      <a:t>IX 74</a:t>
                    </a:r>
                  </a:p>
                  <a:p>
                    <a:r>
                      <a:t>13.34</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37</c:v>
                </c:pt>
                <c:pt idx="2">
                  <c:v>IX 74</c:v>
                </c:pt>
              </c:strCache>
            </c:strRef>
          </c:cat>
          <c:val>
            <c:numRef>
              <c:f>Sheet1!$C$2:$C$4</c:f>
              <c:numCache>
                <c:formatCode>General</c:formatCode>
                <c:ptCount val="3"/>
                <c:pt idx="1">
                  <c:v>17.72</c:v>
                </c:pt>
                <c:pt idx="2">
                  <c:v>13.3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37</c:v>
                </c:pt>
                <c:pt idx="2">
                  <c:v>IX 74</c:v>
                </c:pt>
              </c:strCache>
            </c:strRef>
          </c:cat>
          <c:val>
            <c:numRef>
              <c:f>Sheet1!$D$2:$D$4</c:f>
              <c:numCache>
                <c:formatCode>General</c:formatCode>
                <c:ptCount val="3"/>
                <c:pt idx="0">
                  <c:v>11.84</c:v>
                </c:pt>
                <c:pt idx="1">
                  <c:v>7.88</c:v>
                </c:pt>
                <c:pt idx="2">
                  <c:v>7.48</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t Moret</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37</c:v>
                </c:pt>
                <c:pt idx="2">
                  <c:v>IX 74</c:v>
                </c:pt>
              </c:strCache>
            </c:strRef>
          </c:cat>
          <c:val>
            <c:numRef>
              <c:f>Sheet1!$E$2:$E$4</c:f>
              <c:numCache>
                <c:formatCode>General</c:formatCode>
                <c:ptCount val="3"/>
                <c:pt idx="1">
                  <c:v>12.9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ini Babybe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37</c:v>
                </c:pt>
                <c:pt idx="2">
                  <c:v>IX 74</c:v>
                </c:pt>
              </c:strCache>
            </c:strRef>
          </c:cat>
          <c:val>
            <c:numRef>
              <c:f>Sheet1!$F$2:$F$4</c:f>
              <c:numCache>
                <c:formatCode>General</c:formatCode>
                <c:ptCount val="3"/>
                <c:pt idx="2">
                  <c:v>17.9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8.4333"/>
          <c:min val="6.977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00</c:v>
                </c:pt>
                <c:pt idx="2">
                  <c:v>IX 61</c:v>
                </c:pt>
              </c:strCache>
            </c:strRef>
          </c:cat>
          <c:val>
            <c:numRef>
              <c:f>Sheet1!$B$2:$B$4</c:f>
              <c:numCache>
                <c:formatCode>General</c:formatCode>
                <c:ptCount val="3"/>
                <c:pt idx="0">
                  <c:v>13.25</c:v>
                </c:pt>
                <c:pt idx="1">
                  <c:v>11.61</c:v>
                </c:pt>
                <c:pt idx="2">
                  <c:v>12.5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La Vache Qui Ri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0</a:t>
                    </a:r>
                  </a:p>
                  <a:p>
                    <a:r>
                      <a:t>13.0</a:t>
                    </a:r>
                  </a:p>
                </c:rich>
              </c:tx>
              <c:dLblPos val="l"/>
              <c:showLegendKey val="0"/>
              <c:showVal val="1"/>
              <c:showCatName val="0"/>
              <c:showSerName val="0"/>
              <c:showPercent val="0"/>
              <c:showBubbleSize val="0"/>
            </c:dLbl>
            <c:dLbl>
              <c:idx val="2"/>
              <c:tx>
                <c:rich>
                  <a:bodyPr/>
                  <a:lstStyle/>
                  <a:p>
                    <a:r>
                      <a:t>IX 61</a:t>
                    </a:r>
                  </a:p>
                  <a:p>
                    <a:r>
                      <a:t>10.98</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00</c:v>
                </c:pt>
                <c:pt idx="2">
                  <c:v>IX 61</c:v>
                </c:pt>
              </c:strCache>
            </c:strRef>
          </c:cat>
          <c:val>
            <c:numRef>
              <c:f>Sheet1!$C$2:$C$4</c:f>
              <c:numCache>
                <c:formatCode>General</c:formatCode>
                <c:ptCount val="3"/>
                <c:pt idx="1">
                  <c:v>13.0</c:v>
                </c:pt>
                <c:pt idx="2">
                  <c:v>10.9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00</c:v>
                </c:pt>
                <c:pt idx="2">
                  <c:v>IX 61</c:v>
                </c:pt>
              </c:strCache>
            </c:strRef>
          </c:cat>
          <c:val>
            <c:numRef>
              <c:f>Sheet1!$D$2:$D$4</c:f>
              <c:numCache>
                <c:formatCode>General</c:formatCode>
                <c:ptCount val="3"/>
                <c:pt idx="0">
                  <c:v>11.84</c:v>
                </c:pt>
                <c:pt idx="1">
                  <c:v>7.88</c:v>
                </c:pt>
                <c:pt idx="2">
                  <c:v>7.48</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ini Babybe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00</c:v>
                </c:pt>
                <c:pt idx="2">
                  <c:v>IX 61</c:v>
                </c:pt>
              </c:strCache>
            </c:strRef>
          </c:cat>
          <c:val>
            <c:numRef>
              <c:f>Sheet1!$E$2:$E$4</c:f>
              <c:numCache>
                <c:formatCode>General</c:formatCode>
                <c:ptCount val="3"/>
                <c:pt idx="2">
                  <c:v>17.9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t Moret</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00</c:v>
                </c:pt>
                <c:pt idx="2">
                  <c:v>IX 61</c:v>
                </c:pt>
              </c:strCache>
            </c:strRef>
          </c:cat>
          <c:val>
            <c:numRef>
              <c:f>Sheet1!$F$2:$F$4</c:f>
              <c:numCache>
                <c:formatCode>General</c:formatCode>
                <c:ptCount val="3"/>
                <c:pt idx="1">
                  <c:v>12.9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8.4333"/>
          <c:min val="6.977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9</c:v>
                </c:pt>
                <c:pt idx="1">
                  <c:v>IX 121</c:v>
                </c:pt>
                <c:pt idx="2">
                  <c:v/>
                </c:pt>
              </c:strCache>
            </c:strRef>
          </c:cat>
          <c:val>
            <c:numRef>
              <c:f>Sheet1!$B$2:$B$4</c:f>
              <c:numCache>
                <c:formatCode>General</c:formatCode>
                <c:ptCount val="3"/>
                <c:pt idx="0">
                  <c:v>13.25</c:v>
                </c:pt>
                <c:pt idx="1">
                  <c:v>11.61</c:v>
                </c:pt>
                <c:pt idx="2">
                  <c:v>12.5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oursi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69</a:t>
                    </a:r>
                  </a:p>
                  <a:p>
                    <a:r>
                      <a:t>19.95</a:t>
                    </a:r>
                  </a:p>
                </c:rich>
              </c:tx>
              <c:dLblPos val="l"/>
              <c:showLegendKey val="0"/>
              <c:showVal val="1"/>
              <c:showCatName val="0"/>
              <c:showSerName val="0"/>
              <c:showPercent val="0"/>
              <c:showBubbleSize val="0"/>
            </c:dLbl>
            <c:dLbl>
              <c:idx val="1"/>
              <c:tx>
                <c:rich>
                  <a:bodyPr/>
                  <a:lstStyle/>
                  <a:p>
                    <a:r>
                      <a:t>IX 121</a:t>
                    </a:r>
                  </a:p>
                  <a:p>
                    <a:r>
                      <a:t>15.71</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9</c:v>
                </c:pt>
                <c:pt idx="1">
                  <c:v>IX 121</c:v>
                </c:pt>
                <c:pt idx="2">
                  <c:v/>
                </c:pt>
              </c:strCache>
            </c:strRef>
          </c:cat>
          <c:val>
            <c:numRef>
              <c:f>Sheet1!$C$2:$C$4</c:f>
              <c:numCache>
                <c:formatCode>General</c:formatCode>
                <c:ptCount val="3"/>
                <c:pt idx="0">
                  <c:v>19.95</c:v>
                </c:pt>
                <c:pt idx="1">
                  <c:v>15.71</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9</c:v>
                </c:pt>
                <c:pt idx="1">
                  <c:v>IX 121</c:v>
                </c:pt>
                <c:pt idx="2">
                  <c:v/>
                </c:pt>
              </c:strCache>
            </c:strRef>
          </c:cat>
          <c:val>
            <c:numRef>
              <c:f>Sheet1!$D$2:$D$4</c:f>
              <c:numCache>
                <c:formatCode>General</c:formatCode>
                <c:ptCount val="3"/>
                <c:pt idx="0">
                  <c:v>11.84</c:v>
                </c:pt>
                <c:pt idx="1">
                  <c:v>7.88</c:v>
                </c:pt>
                <c:pt idx="2">
                  <c:v>7.48</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ini Babybe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9</c:v>
                </c:pt>
                <c:pt idx="1">
                  <c:v>IX 121</c:v>
                </c:pt>
                <c:pt idx="2">
                  <c:v/>
                </c:pt>
              </c:strCache>
            </c:strRef>
          </c:cat>
          <c:val>
            <c:numRef>
              <c:f>Sheet1!$E$2:$E$4</c:f>
              <c:numCache>
                <c:formatCode>General</c:formatCode>
                <c:ptCount val="3"/>
                <c:pt idx="2">
                  <c:v>17.9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t Moret</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9</c:v>
                </c:pt>
                <c:pt idx="1">
                  <c:v>IX 121</c:v>
                </c:pt>
                <c:pt idx="2">
                  <c:v/>
                </c:pt>
              </c:strCache>
            </c:strRef>
          </c:cat>
          <c:val>
            <c:numRef>
              <c:f>Sheet1!$F$2:$F$4</c:f>
              <c:numCache>
                <c:formatCode>General</c:formatCode>
                <c:ptCount val="3"/>
                <c:pt idx="1">
                  <c:v>12.9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4484"/>
          <c:min val="6.977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23</c:v>
                </c:pt>
                <c:pt idx="2">
                  <c:v>IX 76</c:v>
                </c:pt>
              </c:strCache>
            </c:strRef>
          </c:cat>
          <c:val>
            <c:numRef>
              <c:f>Sheet1!$B$2:$B$4</c:f>
              <c:numCache>
                <c:formatCode>General</c:formatCode>
                <c:ptCount val="3"/>
                <c:pt idx="0">
                  <c:v>14.5</c:v>
                </c:pt>
                <c:pt idx="1">
                  <c:v>12.51</c:v>
                </c:pt>
                <c:pt idx="2">
                  <c:v>13.59</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Kiri</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23</a:t>
                    </a:r>
                  </a:p>
                  <a:p>
                    <a:r>
                      <a:t>17.46</a:t>
                    </a:r>
                  </a:p>
                </c:rich>
              </c:tx>
              <c:dLblPos val="l"/>
              <c:showLegendKey val="0"/>
              <c:showVal val="1"/>
              <c:showCatName val="0"/>
              <c:showSerName val="0"/>
              <c:showPercent val="0"/>
              <c:showBubbleSize val="0"/>
            </c:dLbl>
            <c:dLbl>
              <c:idx val="2"/>
              <c:tx>
                <c:rich>
                  <a:bodyPr/>
                  <a:lstStyle/>
                  <a:p>
                    <a:r>
                      <a:t>IX 76</a:t>
                    </a:r>
                  </a:p>
                  <a:p>
                    <a:r>
                      <a:t>13.6</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23</c:v>
                </c:pt>
                <c:pt idx="2">
                  <c:v>IX 76</c:v>
                </c:pt>
              </c:strCache>
            </c:strRef>
          </c:cat>
          <c:val>
            <c:numRef>
              <c:f>Sheet1!$C$2:$C$4</c:f>
              <c:numCache>
                <c:formatCode>General</c:formatCode>
                <c:ptCount val="3"/>
                <c:pt idx="1">
                  <c:v>17.46</c:v>
                </c:pt>
                <c:pt idx="2">
                  <c:v>13.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23</c:v>
                </c:pt>
                <c:pt idx="2">
                  <c:v>IX 76</c:v>
                </c:pt>
              </c:strCache>
            </c:strRef>
          </c:cat>
          <c:val>
            <c:numRef>
              <c:f>Sheet1!$D$2:$D$4</c:f>
              <c:numCache>
                <c:formatCode>General</c:formatCode>
                <c:ptCount val="3"/>
                <c:pt idx="0">
                  <c:v>13.01</c:v>
                </c:pt>
                <c:pt idx="1">
                  <c:v>8.45</c:v>
                </c:pt>
                <c:pt idx="2">
                  <c:v>8.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t Moret</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23</c:v>
                </c:pt>
                <c:pt idx="2">
                  <c:v>IX 76</c:v>
                </c:pt>
              </c:strCache>
            </c:strRef>
          </c:cat>
          <c:val>
            <c:numRef>
              <c:f>Sheet1!$E$2:$E$4</c:f>
              <c:numCache>
                <c:formatCode>General</c:formatCode>
                <c:ptCount val="3"/>
                <c:pt idx="1">
                  <c:v>14.2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ini Babybe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23</c:v>
                </c:pt>
                <c:pt idx="2">
                  <c:v>IX 76</c:v>
                </c:pt>
              </c:strCache>
            </c:strRef>
          </c:cat>
          <c:val>
            <c:numRef>
              <c:f>Sheet1!$F$2:$F$4</c:f>
              <c:numCache>
                <c:formatCode>General</c:formatCode>
                <c:ptCount val="3"/>
                <c:pt idx="2">
                  <c:v>17.8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8.3866"/>
          <c:min val="7.9468999999999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99</c:v>
                </c:pt>
                <c:pt idx="2">
                  <c:v>IX 100</c:v>
                </c:pt>
              </c:strCache>
            </c:strRef>
          </c:cat>
          <c:val>
            <c:numRef>
              <c:f>Sheet1!$B$2:$B$4</c:f>
              <c:numCache>
                <c:formatCode>General</c:formatCode>
                <c:ptCount val="3"/>
                <c:pt idx="0">
                  <c:v>14.5</c:v>
                </c:pt>
                <c:pt idx="1">
                  <c:v>12.51</c:v>
                </c:pt>
                <c:pt idx="2">
                  <c:v>13.59</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La Vache Qui Ri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99</a:t>
                    </a:r>
                  </a:p>
                  <a:p>
                    <a:r>
                      <a:t>14.0</a:t>
                    </a:r>
                  </a:p>
                </c:rich>
              </c:tx>
              <c:dLblPos val="l"/>
              <c:showLegendKey val="0"/>
              <c:showVal val="1"/>
              <c:showCatName val="0"/>
              <c:showSerName val="0"/>
              <c:showPercent val="0"/>
              <c:showBubbleSize val="0"/>
            </c:dLbl>
            <c:dLbl>
              <c:idx val="2"/>
              <c:tx>
                <c:rich>
                  <a:bodyPr/>
                  <a:lstStyle/>
                  <a:p>
                    <a:r>
                      <a:t>IX 100</a:t>
                    </a:r>
                  </a:p>
                  <a:p>
                    <a:r>
                      <a:t>11.3</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99</c:v>
                </c:pt>
                <c:pt idx="2">
                  <c:v>IX 100</c:v>
                </c:pt>
              </c:strCache>
            </c:strRef>
          </c:cat>
          <c:val>
            <c:numRef>
              <c:f>Sheet1!$C$2:$C$4</c:f>
              <c:numCache>
                <c:formatCode>General</c:formatCode>
                <c:ptCount val="3"/>
                <c:pt idx="1">
                  <c:v>14.0</c:v>
                </c:pt>
                <c:pt idx="2">
                  <c:v>11.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99</c:v>
                </c:pt>
                <c:pt idx="2">
                  <c:v>IX 100</c:v>
                </c:pt>
              </c:strCache>
            </c:strRef>
          </c:cat>
          <c:val>
            <c:numRef>
              <c:f>Sheet1!$D$2:$D$4</c:f>
              <c:numCache>
                <c:formatCode>General</c:formatCode>
                <c:ptCount val="3"/>
                <c:pt idx="0">
                  <c:v>13.01</c:v>
                </c:pt>
                <c:pt idx="1">
                  <c:v>8.45</c:v>
                </c:pt>
                <c:pt idx="2">
                  <c:v>8.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ini Babybe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99</c:v>
                </c:pt>
                <c:pt idx="2">
                  <c:v>IX 100</c:v>
                </c:pt>
              </c:strCache>
            </c:strRef>
          </c:cat>
          <c:val>
            <c:numRef>
              <c:f>Sheet1!$E$2:$E$4</c:f>
              <c:numCache>
                <c:formatCode>General</c:formatCode>
                <c:ptCount val="3"/>
                <c:pt idx="2">
                  <c:v>17.8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t Moret</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99</c:v>
                </c:pt>
                <c:pt idx="2">
                  <c:v>IX 100</c:v>
                </c:pt>
              </c:strCache>
            </c:strRef>
          </c:cat>
          <c:val>
            <c:numRef>
              <c:f>Sheet1!$F$2:$F$4</c:f>
              <c:numCache>
                <c:formatCode>General</c:formatCode>
                <c:ptCount val="3"/>
                <c:pt idx="1">
                  <c:v>14.21</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8.3866"/>
          <c:min val="7.9468999999999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7</c:v>
                </c:pt>
                <c:pt idx="1">
                  <c:v>IX 113</c:v>
                </c:pt>
                <c:pt idx="2">
                  <c:v/>
                </c:pt>
              </c:strCache>
            </c:strRef>
          </c:cat>
          <c:val>
            <c:numRef>
              <c:f>Sheet1!$B$2:$B$4</c:f>
              <c:numCache>
                <c:formatCode>General</c:formatCode>
                <c:ptCount val="3"/>
                <c:pt idx="0">
                  <c:v>14.5</c:v>
                </c:pt>
                <c:pt idx="1">
                  <c:v>12.51</c:v>
                </c:pt>
                <c:pt idx="2">
                  <c:v>13.59</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oursi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57</a:t>
                    </a:r>
                  </a:p>
                  <a:p>
                    <a:r>
                      <a:t>20.48</a:t>
                    </a:r>
                  </a:p>
                </c:rich>
              </c:tx>
              <c:dLblPos val="l"/>
              <c:showLegendKey val="0"/>
              <c:showVal val="1"/>
              <c:showCatName val="0"/>
              <c:showSerName val="0"/>
              <c:showPercent val="0"/>
              <c:showBubbleSize val="0"/>
            </c:dLbl>
            <c:dLbl>
              <c:idx val="1"/>
              <c:tx>
                <c:rich>
                  <a:bodyPr/>
                  <a:lstStyle/>
                  <a:p>
                    <a:r>
                      <a:t>IX 113</a:t>
                    </a:r>
                  </a:p>
                  <a:p>
                    <a:r>
                      <a:t>16.01</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7</c:v>
                </c:pt>
                <c:pt idx="1">
                  <c:v>IX 113</c:v>
                </c:pt>
                <c:pt idx="2">
                  <c:v/>
                </c:pt>
              </c:strCache>
            </c:strRef>
          </c:cat>
          <c:val>
            <c:numRef>
              <c:f>Sheet1!$C$2:$C$4</c:f>
              <c:numCache>
                <c:formatCode>General</c:formatCode>
                <c:ptCount val="3"/>
                <c:pt idx="0">
                  <c:v>20.48</c:v>
                </c:pt>
                <c:pt idx="1">
                  <c:v>16.01</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7</c:v>
                </c:pt>
                <c:pt idx="1">
                  <c:v>IX 113</c:v>
                </c:pt>
                <c:pt idx="2">
                  <c:v/>
                </c:pt>
              </c:strCache>
            </c:strRef>
          </c:cat>
          <c:val>
            <c:numRef>
              <c:f>Sheet1!$D$2:$D$4</c:f>
              <c:numCache>
                <c:formatCode>General</c:formatCode>
                <c:ptCount val="3"/>
                <c:pt idx="0">
                  <c:v>13.01</c:v>
                </c:pt>
                <c:pt idx="1">
                  <c:v>8.45</c:v>
                </c:pt>
                <c:pt idx="2">
                  <c:v>8.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ini Babybe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7</c:v>
                </c:pt>
                <c:pt idx="1">
                  <c:v>IX 113</c:v>
                </c:pt>
                <c:pt idx="2">
                  <c:v/>
                </c:pt>
              </c:strCache>
            </c:strRef>
          </c:cat>
          <c:val>
            <c:numRef>
              <c:f>Sheet1!$E$2:$E$4</c:f>
              <c:numCache>
                <c:formatCode>General</c:formatCode>
                <c:ptCount val="3"/>
                <c:pt idx="2">
                  <c:v>17.8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t Moret</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7</c:v>
                </c:pt>
                <c:pt idx="1">
                  <c:v>IX 113</c:v>
                </c:pt>
                <c:pt idx="2">
                  <c:v/>
                </c:pt>
              </c:strCache>
            </c:strRef>
          </c:cat>
          <c:val>
            <c:numRef>
              <c:f>Sheet1!$F$2:$F$4</c:f>
              <c:numCache>
                <c:formatCode>General</c:formatCode>
                <c:ptCount val="3"/>
                <c:pt idx="1">
                  <c:v>14.21</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9796"/>
          <c:min val="7.9468999999999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45</c:v>
                </c:pt>
                <c:pt idx="2">
                  <c:v>IX 100</c:v>
                </c:pt>
              </c:strCache>
            </c:strRef>
          </c:cat>
          <c:val>
            <c:numRef>
              <c:f>Sheet1!$B$2:$B$4</c:f>
              <c:numCache>
                <c:formatCode>General</c:formatCode>
                <c:ptCount val="3"/>
                <c:pt idx="0">
                  <c:v>12.43</c:v>
                </c:pt>
                <c:pt idx="1">
                  <c:v>11.91</c:v>
                </c:pt>
                <c:pt idx="2">
                  <c:v>13.1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Kiri</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45</a:t>
                    </a:r>
                  </a:p>
                  <a:p>
                    <a:r>
                      <a:t>18.88</a:t>
                    </a:r>
                  </a:p>
                </c:rich>
              </c:tx>
              <c:dLblPos val="l"/>
              <c:showLegendKey val="0"/>
              <c:showVal val="1"/>
              <c:showCatName val="0"/>
              <c:showSerName val="0"/>
              <c:showPercent val="0"/>
              <c:showBubbleSize val="0"/>
            </c:dLbl>
            <c:dLbl>
              <c:idx val="2"/>
              <c:tx>
                <c:rich>
                  <a:bodyPr/>
                  <a:lstStyle/>
                  <a:p>
                    <a:r>
                      <a:t>IX 100</a:t>
                    </a:r>
                  </a:p>
                  <a:p>
                    <a:r>
                      <a:t>13.54</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45</c:v>
                </c:pt>
                <c:pt idx="2">
                  <c:v>IX 100</c:v>
                </c:pt>
              </c:strCache>
            </c:strRef>
          </c:cat>
          <c:val>
            <c:numRef>
              <c:f>Sheet1!$C$2:$C$4</c:f>
              <c:numCache>
                <c:formatCode>General</c:formatCode>
                <c:ptCount val="3"/>
                <c:pt idx="1">
                  <c:v>18.88</c:v>
                </c:pt>
                <c:pt idx="2">
                  <c:v>13.5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45</c:v>
                </c:pt>
                <c:pt idx="2">
                  <c:v>IX 100</c:v>
                </c:pt>
              </c:strCache>
            </c:strRef>
          </c:cat>
          <c:val>
            <c:numRef>
              <c:f>Sheet1!$D$2:$D$4</c:f>
              <c:numCache>
                <c:formatCode>General</c:formatCode>
                <c:ptCount val="3"/>
                <c:pt idx="0">
                  <c:v>11.03</c:v>
                </c:pt>
                <c:pt idx="1">
                  <c:v>8.11</c:v>
                </c:pt>
                <c:pt idx="2">
                  <c:v>8.08</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oigno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45</c:v>
                </c:pt>
                <c:pt idx="2">
                  <c:v>IX 100</c:v>
                </c:pt>
              </c:strCache>
            </c:strRef>
          </c:cat>
          <c:val>
            <c:numRef>
              <c:f>Sheet1!$E$2:$E$4</c:f>
              <c:numCache>
                <c:formatCode>General</c:formatCode>
                <c:ptCount val="3"/>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t Moret</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45</c:v>
                </c:pt>
                <c:pt idx="2">
                  <c:v>IX 100</c:v>
                </c:pt>
              </c:strCache>
            </c:strRef>
          </c:cat>
          <c:val>
            <c:numRef>
              <c:f>Sheet1!$F$2:$F$4</c:f>
              <c:numCache>
                <c:formatCode>General</c:formatCode>
                <c:ptCount val="3"/>
                <c:pt idx="1">
                  <c:v>12.9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9.3803"/>
          <c:min val="7.5765999999999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100</c:v>
                </c:pt>
              </c:strCache>
            </c:strRef>
          </c:cat>
          <c:val>
            <c:numRef>
              <c:f>Sheet1!$B$2:$B$4</c:f>
              <c:numCache>
                <c:formatCode>General</c:formatCode>
                <c:ptCount val="3"/>
                <c:pt idx="0">
                  <c:v>12.43</c:v>
                </c:pt>
                <c:pt idx="1">
                  <c:v>11.91</c:v>
                </c:pt>
                <c:pt idx="2">
                  <c:v>13.1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La Vache Qui Ri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1.58</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100</c:v>
                </c:pt>
              </c:strCache>
            </c:strRef>
          </c:cat>
          <c:val>
            <c:numRef>
              <c:f>Sheet1!$C$2:$C$4</c:f>
              <c:numCache>
                <c:formatCode>General</c:formatCode>
                <c:ptCount val="3"/>
                <c:pt idx="2">
                  <c:v>11.5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100</c:v>
                </c:pt>
              </c:strCache>
            </c:strRef>
          </c:cat>
          <c:val>
            <c:numRef>
              <c:f>Sheet1!$D$2:$D$4</c:f>
              <c:numCache>
                <c:formatCode>General</c:formatCode>
                <c:ptCount val="3"/>
                <c:pt idx="0">
                  <c:v>11.03</c:v>
                </c:pt>
                <c:pt idx="1">
                  <c:v>8.11</c:v>
                </c:pt>
                <c:pt idx="2">
                  <c:v>8.08</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oigno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100</c:v>
                </c:pt>
              </c:strCache>
            </c:strRef>
          </c:cat>
          <c:val>
            <c:numRef>
              <c:f>Sheet1!$E$2:$E$4</c:f>
              <c:numCache>
                <c:formatCode>General</c:formatCode>
                <c:ptCount val="3"/>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t Moret</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100</c:v>
                </c:pt>
              </c:strCache>
            </c:strRef>
          </c:cat>
          <c:val>
            <c:numRef>
              <c:f>Sheet1!$F$2:$F$4</c:f>
              <c:numCache>
                <c:formatCode>General</c:formatCode>
                <c:ptCount val="3"/>
                <c:pt idx="1">
                  <c:v>12.9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3.6307"/>
          <c:min val="7.5765999999999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4</c:v>
                </c:pt>
                <c:pt idx="1">
                  <c:v>IX 123</c:v>
                </c:pt>
                <c:pt idx="2">
                  <c:v/>
                </c:pt>
              </c:strCache>
            </c:strRef>
          </c:cat>
          <c:val>
            <c:numRef>
              <c:f>Sheet1!$B$2:$B$4</c:f>
              <c:numCache>
                <c:formatCode>General</c:formatCode>
                <c:ptCount val="3"/>
                <c:pt idx="0">
                  <c:v>12.43</c:v>
                </c:pt>
                <c:pt idx="1">
                  <c:v>11.91</c:v>
                </c:pt>
                <c:pt idx="2">
                  <c:v>13.1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oursi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84</a:t>
                    </a:r>
                  </a:p>
                  <a:p>
                    <a:r>
                      <a:t>20.33</a:t>
                    </a:r>
                  </a:p>
                </c:rich>
              </c:tx>
              <c:dLblPos val="l"/>
              <c:showLegendKey val="0"/>
              <c:showVal val="1"/>
              <c:showCatName val="0"/>
              <c:showSerName val="0"/>
              <c:showPercent val="0"/>
              <c:showBubbleSize val="0"/>
            </c:dLbl>
            <c:dLbl>
              <c:idx val="1"/>
              <c:tx>
                <c:rich>
                  <a:bodyPr/>
                  <a:lstStyle/>
                  <a:p>
                    <a:r>
                      <a:t>IX 123</a:t>
                    </a:r>
                  </a:p>
                  <a:p>
                    <a:r>
                      <a:t>15.91</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4</c:v>
                </c:pt>
                <c:pt idx="1">
                  <c:v>IX 123</c:v>
                </c:pt>
                <c:pt idx="2">
                  <c:v/>
                </c:pt>
              </c:strCache>
            </c:strRef>
          </c:cat>
          <c:val>
            <c:numRef>
              <c:f>Sheet1!$C$2:$C$4</c:f>
              <c:numCache>
                <c:formatCode>General</c:formatCode>
                <c:ptCount val="3"/>
                <c:pt idx="0">
                  <c:v>20.33</c:v>
                </c:pt>
                <c:pt idx="1">
                  <c:v>15.91</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4</c:v>
                </c:pt>
                <c:pt idx="1">
                  <c:v>IX 123</c:v>
                </c:pt>
                <c:pt idx="2">
                  <c:v/>
                </c:pt>
              </c:strCache>
            </c:strRef>
          </c:cat>
          <c:val>
            <c:numRef>
              <c:f>Sheet1!$D$2:$D$4</c:f>
              <c:numCache>
                <c:formatCode>General</c:formatCode>
                <c:ptCount val="3"/>
                <c:pt idx="0">
                  <c:v>11.03</c:v>
                </c:pt>
                <c:pt idx="1">
                  <c:v>8.11</c:v>
                </c:pt>
                <c:pt idx="2">
                  <c:v>8.08</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oigno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4</c:v>
                </c:pt>
                <c:pt idx="1">
                  <c:v>IX 123</c:v>
                </c:pt>
                <c:pt idx="2">
                  <c:v/>
                </c:pt>
              </c:strCache>
            </c:strRef>
          </c:cat>
          <c:val>
            <c:numRef>
              <c:f>Sheet1!$E$2:$E$4</c:f>
              <c:numCache>
                <c:formatCode>General</c:formatCode>
                <c:ptCount val="3"/>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t Moret</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4</c:v>
                </c:pt>
                <c:pt idx="1">
                  <c:v>IX 123</c:v>
                </c:pt>
                <c:pt idx="2">
                  <c:v/>
                </c:pt>
              </c:strCache>
            </c:strRef>
          </c:cat>
          <c:val>
            <c:numRef>
              <c:f>Sheet1!$F$2:$F$4</c:f>
              <c:numCache>
                <c:formatCode>General</c:formatCode>
                <c:ptCount val="3"/>
                <c:pt idx="1">
                  <c:v>12.9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8291"/>
          <c:min val="7.5765999999999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7</c:v>
                </c:pt>
                <c:pt idx="1">
                  <c:v/>
                </c:pt>
                <c:pt idx="2">
                  <c:v>IX 103</c:v>
                </c:pt>
              </c:strCache>
            </c:strRef>
          </c:cat>
          <c:val>
            <c:numRef>
              <c:f>Sheet1!$B$2:$B$4</c:f>
              <c:numCache>
                <c:formatCode>General</c:formatCode>
                <c:ptCount val="3"/>
                <c:pt idx="0">
                  <c:v>11.56</c:v>
                </c:pt>
                <c:pt idx="1">
                  <c:v>19.86</c:v>
                </c:pt>
                <c:pt idx="2">
                  <c:v>7.7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La Vache Qui Ri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7</a:t>
                    </a:r>
                  </a:p>
                  <a:p>
                    <a:r>
                      <a:t>10.5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3</a:t>
                    </a:r>
                  </a:p>
                  <a:p>
                    <a:r>
                      <a:t>6.71</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7</c:v>
                </c:pt>
                <c:pt idx="1">
                  <c:v/>
                </c:pt>
                <c:pt idx="2">
                  <c:v>IX 103</c:v>
                </c:pt>
              </c:strCache>
            </c:strRef>
          </c:cat>
          <c:val>
            <c:numRef>
              <c:f>Sheet1!$C$2:$C$4</c:f>
              <c:numCache>
                <c:formatCode>General</c:formatCode>
                <c:ptCount val="3"/>
                <c:pt idx="0">
                  <c:v>10.58</c:v>
                </c:pt>
                <c:pt idx="2">
                  <c:v>6.7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7</c:v>
                </c:pt>
                <c:pt idx="1">
                  <c:v/>
                </c:pt>
                <c:pt idx="2">
                  <c:v>IX 103</c:v>
                </c:pt>
              </c:strCache>
            </c:strRef>
          </c:cat>
          <c:val>
            <c:numRef>
              <c:f>Sheet1!$D$2:$D$4</c:f>
              <c:numCache>
                <c:formatCode>General</c:formatCode>
                <c:ptCount val="3"/>
                <c:pt idx="0">
                  <c:v>9.9</c:v>
                </c:pt>
                <c:pt idx="1">
                  <c:v>25.94</c:v>
                </c:pt>
                <c:pt idx="2">
                  <c:v>6.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Top Budget</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7</c:v>
                </c:pt>
                <c:pt idx="1">
                  <c:v/>
                </c:pt>
                <c:pt idx="2">
                  <c:v>IX 103</c:v>
                </c:pt>
              </c:strCache>
            </c:strRef>
          </c:cat>
          <c:val>
            <c:numRef>
              <c:f>Sheet1!$E$2:$E$4</c:f>
              <c:numCache>
                <c:formatCode>General</c:formatCode>
                <c:ptCount val="3"/>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Paturage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7</c:v>
                </c:pt>
                <c:pt idx="1">
                  <c:v/>
                </c:pt>
                <c:pt idx="2">
                  <c:v>IX 103</c:v>
                </c:pt>
              </c:strCache>
            </c:strRef>
          </c:cat>
          <c:val>
            <c:numRef>
              <c:f>Sheet1!$F$2:$F$4</c:f>
              <c:numCache>
                <c:formatCode>General</c:formatCode>
                <c:ptCount val="3"/>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6.4407"/>
          <c:min val="5.997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0</c:v>
                </c:pt>
                <c:pt idx="1">
                  <c:v>IX 100</c:v>
                </c:pt>
                <c:pt idx="2">
                  <c:v>IX 174</c:v>
                </c:pt>
              </c:strCache>
            </c:strRef>
          </c:cat>
          <c:val>
            <c:numRef>
              <c:f>Sheet1!$B$2:$B$4</c:f>
              <c:numCache>
                <c:formatCode>General</c:formatCode>
                <c:ptCount val="3"/>
                <c:pt idx="0">
                  <c:v>11.56</c:v>
                </c:pt>
                <c:pt idx="1">
                  <c:v>19.86</c:v>
                </c:pt>
                <c:pt idx="2">
                  <c:v>7.7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oursi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60</a:t>
                    </a:r>
                  </a:p>
                  <a:p>
                    <a:r>
                      <a:t>15.84</a:t>
                    </a:r>
                  </a:p>
                </c:rich>
              </c:tx>
              <c:dLblPos val="l"/>
              <c:showLegendKey val="0"/>
              <c:showVal val="1"/>
              <c:showCatName val="0"/>
              <c:showSerName val="0"/>
              <c:showPercent val="0"/>
              <c:showBubbleSize val="0"/>
            </c:dLbl>
            <c:dLbl>
              <c:idx val="1"/>
              <c:tx>
                <c:rich>
                  <a:bodyPr/>
                  <a:lstStyle/>
                  <a:p>
                    <a:r>
                      <a:t>IX 100</a:t>
                    </a:r>
                  </a:p>
                  <a:p>
                    <a:r>
                      <a:t>35.06</a:t>
                    </a:r>
                  </a:p>
                </c:rich>
              </c:tx>
              <c:dLblPos val="l"/>
              <c:showLegendKey val="0"/>
              <c:showVal val="1"/>
              <c:showCatName val="0"/>
              <c:showSerName val="0"/>
              <c:showPercent val="0"/>
              <c:showBubbleSize val="0"/>
            </c:dLbl>
            <c:dLbl>
              <c:idx val="2"/>
              <c:tx>
                <c:rich>
                  <a:bodyPr/>
                  <a:lstStyle/>
                  <a:p>
                    <a:r>
                      <a:t>IX 174</a:t>
                    </a:r>
                  </a:p>
                  <a:p>
                    <a:r>
                      <a:t>11.2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0</c:v>
                </c:pt>
                <c:pt idx="1">
                  <c:v>IX 100</c:v>
                </c:pt>
                <c:pt idx="2">
                  <c:v>IX 174</c:v>
                </c:pt>
              </c:strCache>
            </c:strRef>
          </c:cat>
          <c:val>
            <c:numRef>
              <c:f>Sheet1!$C$2:$C$4</c:f>
              <c:numCache>
                <c:formatCode>General</c:formatCode>
                <c:ptCount val="3"/>
                <c:pt idx="0">
                  <c:v>15.84</c:v>
                </c:pt>
                <c:pt idx="1">
                  <c:v>35.06</c:v>
                </c:pt>
                <c:pt idx="2">
                  <c:v>11.2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0</c:v>
                </c:pt>
                <c:pt idx="1">
                  <c:v>IX 100</c:v>
                </c:pt>
                <c:pt idx="2">
                  <c:v>IX 174</c:v>
                </c:pt>
              </c:strCache>
            </c:strRef>
          </c:cat>
          <c:val>
            <c:numRef>
              <c:f>Sheet1!$D$2:$D$4</c:f>
              <c:numCache>
                <c:formatCode>General</c:formatCode>
                <c:ptCount val="3"/>
                <c:pt idx="0">
                  <c:v>9.9</c:v>
                </c:pt>
                <c:pt idx="1">
                  <c:v>25.94</c:v>
                </c:pt>
                <c:pt idx="2">
                  <c:v>6.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Top Budget</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0</c:v>
                </c:pt>
                <c:pt idx="1">
                  <c:v>IX 100</c:v>
                </c:pt>
                <c:pt idx="2">
                  <c:v>IX 174</c:v>
                </c:pt>
              </c:strCache>
            </c:strRef>
          </c:cat>
          <c:val>
            <c:numRef>
              <c:f>Sheet1!$E$2:$E$4</c:f>
              <c:numCache>
                <c:formatCode>General</c:formatCode>
                <c:ptCount val="3"/>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Paturage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0</c:v>
                </c:pt>
                <c:pt idx="1">
                  <c:v>IX 100</c:v>
                </c:pt>
                <c:pt idx="2">
                  <c:v>IX 174</c:v>
                </c:pt>
              </c:strCache>
            </c:strRef>
          </c:cat>
          <c:val>
            <c:numRef>
              <c:f>Sheet1!$F$2:$F$4</c:f>
              <c:numCache>
                <c:formatCode>General</c:formatCode>
                <c:ptCount val="3"/>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5.5559"/>
          <c:min val="5.997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14</c:v>
                </c:pt>
                <c:pt idx="1">
                  <c:v/>
                </c:pt>
              </c:strCache>
            </c:strRef>
          </c:cat>
          <c:val>
            <c:numRef>
              <c:f>Sheet1!$B$2:$B$3</c:f>
              <c:numCache>
                <c:formatCode>General</c:formatCode>
                <c:ptCount val="2"/>
                <c:pt idx="0">
                  <c:v>12.45</c:v>
                </c:pt>
                <c:pt idx="1">
                  <c:v>20.99</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Kiri</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14</a:t>
                    </a:r>
                  </a:p>
                  <a:p>
                    <a:r>
                      <a:t>12.4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14</c:v>
                </c:pt>
                <c:pt idx="1">
                  <c:v/>
                </c:pt>
              </c:strCache>
            </c:strRef>
          </c:cat>
          <c:val>
            <c:numRef>
              <c:f>Sheet1!$C$2:$C$3</c:f>
              <c:numCache>
                <c:formatCode>General</c:formatCode>
                <c:ptCount val="2"/>
                <c:pt idx="0">
                  <c:v>12.4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14</c:v>
                </c:pt>
                <c:pt idx="1">
                  <c:v/>
                </c:pt>
              </c:strCache>
            </c:strRef>
          </c:cat>
          <c:val>
            <c:numRef>
              <c:f>Sheet1!$D$2:$D$3</c:f>
              <c:numCache>
                <c:formatCode>General</c:formatCode>
                <c:ptCount val="2"/>
                <c:pt idx="0">
                  <c:v>10.99</c:v>
                </c:pt>
                <c:pt idx="1">
                  <c:v>31.3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Violif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14</c:v>
                </c:pt>
                <c:pt idx="1">
                  <c:v/>
                </c:pt>
              </c:strCache>
            </c:strRef>
          </c:cat>
          <c:val>
            <c:numRef>
              <c:f>Sheet1!$E$2:$E$3</c:f>
              <c:numCache>
                <c:formatCode>General</c:formatCode>
                <c:ptCount val="2"/>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Apericub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14</c:v>
                </c:pt>
                <c:pt idx="1">
                  <c:v/>
                </c:pt>
              </c:strCache>
            </c:strRef>
          </c:cat>
          <c:val>
            <c:numRef>
              <c:f>Sheet1!$F$2:$F$3</c:f>
              <c:numCache>
                <c:formatCode>General</c:formatCode>
                <c:ptCount val="2"/>
                <c:pt idx="1">
                  <c:v>18.27</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1.8218"/>
          <c:min val="10.490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3</c:v>
                </c:pt>
                <c:pt idx="1">
                  <c:v/>
                </c:pt>
              </c:strCache>
            </c:strRef>
          </c:cat>
          <c:val>
            <c:numRef>
              <c:f>Sheet1!$B$2:$B$3</c:f>
              <c:numCache>
                <c:formatCode>General</c:formatCode>
                <c:ptCount val="2"/>
                <c:pt idx="0">
                  <c:v>12.45</c:v>
                </c:pt>
                <c:pt idx="1">
                  <c:v>20.99</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La Vache Qui Ri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93</a:t>
                    </a:r>
                  </a:p>
                  <a:p>
                    <a:r>
                      <a:t>10.22</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3</c:v>
                </c:pt>
                <c:pt idx="1">
                  <c:v/>
                </c:pt>
              </c:strCache>
            </c:strRef>
          </c:cat>
          <c:val>
            <c:numRef>
              <c:f>Sheet1!$C$2:$C$3</c:f>
              <c:numCache>
                <c:formatCode>General</c:formatCode>
                <c:ptCount val="2"/>
                <c:pt idx="0">
                  <c:v>10.2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3</c:v>
                </c:pt>
                <c:pt idx="1">
                  <c:v/>
                </c:pt>
              </c:strCache>
            </c:strRef>
          </c:cat>
          <c:val>
            <c:numRef>
              <c:f>Sheet1!$D$2:$D$3</c:f>
              <c:numCache>
                <c:formatCode>General</c:formatCode>
                <c:ptCount val="2"/>
                <c:pt idx="0">
                  <c:v>10.99</c:v>
                </c:pt>
                <c:pt idx="1">
                  <c:v>31.3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Violif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3</c:v>
                </c:pt>
                <c:pt idx="1">
                  <c:v/>
                </c:pt>
              </c:strCache>
            </c:strRef>
          </c:cat>
          <c:val>
            <c:numRef>
              <c:f>Sheet1!$E$2:$E$3</c:f>
              <c:numCache>
                <c:formatCode>General</c:formatCode>
                <c:ptCount val="2"/>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Apericub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3</c:v>
                </c:pt>
                <c:pt idx="1">
                  <c:v/>
                </c:pt>
              </c:strCache>
            </c:strRef>
          </c:cat>
          <c:val>
            <c:numRef>
              <c:f>Sheet1!$F$2:$F$3</c:f>
              <c:numCache>
                <c:formatCode>General</c:formatCode>
                <c:ptCount val="2"/>
                <c:pt idx="1">
                  <c:v>18.27</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1.8218"/>
          <c:min val="9.716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8</c:v>
                </c:pt>
                <c:pt idx="1">
                  <c:v>IX 189</c:v>
                </c:pt>
              </c:strCache>
            </c:strRef>
          </c:cat>
          <c:val>
            <c:numRef>
              <c:f>Sheet1!$B$2:$B$3</c:f>
              <c:numCache>
                <c:formatCode>General</c:formatCode>
                <c:ptCount val="2"/>
                <c:pt idx="0">
                  <c:v>12.45</c:v>
                </c:pt>
                <c:pt idx="1">
                  <c:v>20.99</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oursi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48</a:t>
                    </a:r>
                  </a:p>
                  <a:p>
                    <a:r>
                      <a:t>16.3</a:t>
                    </a:r>
                  </a:p>
                </c:rich>
              </c:tx>
              <c:dLblPos val="l"/>
              <c:showLegendKey val="0"/>
              <c:showVal val="1"/>
              <c:showCatName val="0"/>
              <c:showSerName val="0"/>
              <c:showPercent val="0"/>
              <c:showBubbleSize val="0"/>
            </c:dLbl>
            <c:dLbl>
              <c:idx val="1"/>
              <c:tx>
                <c:rich>
                  <a:bodyPr/>
                  <a:lstStyle/>
                  <a:p>
                    <a:r>
                      <a:t>IX 189</a:t>
                    </a:r>
                  </a:p>
                  <a:p>
                    <a:r>
                      <a:t>34.6</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8</c:v>
                </c:pt>
                <c:pt idx="1">
                  <c:v>IX 189</c:v>
                </c:pt>
              </c:strCache>
            </c:strRef>
          </c:cat>
          <c:val>
            <c:numRef>
              <c:f>Sheet1!$C$2:$C$3</c:f>
              <c:numCache>
                <c:formatCode>General</c:formatCode>
                <c:ptCount val="2"/>
                <c:pt idx="0">
                  <c:v>16.3</c:v>
                </c:pt>
                <c:pt idx="1">
                  <c:v>34.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8</c:v>
                </c:pt>
                <c:pt idx="1">
                  <c:v>IX 189</c:v>
                </c:pt>
              </c:strCache>
            </c:strRef>
          </c:cat>
          <c:val>
            <c:numRef>
              <c:f>Sheet1!$D$2:$D$3</c:f>
              <c:numCache>
                <c:formatCode>General</c:formatCode>
                <c:ptCount val="2"/>
                <c:pt idx="0">
                  <c:v>10.99</c:v>
                </c:pt>
                <c:pt idx="1">
                  <c:v>31.3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Violif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8</c:v>
                </c:pt>
                <c:pt idx="1">
                  <c:v>IX 189</c:v>
                </c:pt>
              </c:strCache>
            </c:strRef>
          </c:cat>
          <c:val>
            <c:numRef>
              <c:f>Sheet1!$E$2:$E$3</c:f>
              <c:numCache>
                <c:formatCode>General</c:formatCode>
                <c:ptCount val="2"/>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Apericub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8</c:v>
                </c:pt>
                <c:pt idx="1">
                  <c:v>IX 189</c:v>
                </c:pt>
              </c:strCache>
            </c:strRef>
          </c:cat>
          <c:val>
            <c:numRef>
              <c:f>Sheet1!$F$2:$F$3</c:f>
              <c:numCache>
                <c:formatCode>General</c:formatCode>
                <c:ptCount val="2"/>
                <c:pt idx="1">
                  <c:v>18.27</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5.0985"/>
          <c:min val="10.490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9/09/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xml"/></Relationships>
</file>

<file path=ppt/notesSlides/_rels/notesSlide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9/9/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9/09/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9/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9/09/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9/09/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9/09/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9/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9/9/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9/9/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9/9/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notesSlide" Target="../notesSlides/notesSlide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notesSlide" Target="../notesSlides/notesSlide2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xml"/></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notesSlide" Target="../notesSlides/notesSlide3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notesSlide" Target="../notesSlides/notesSlide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notesSlide" Target="../notesSlides/notesSlide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xml"/></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notesSlide" Target="../notesSlides/notesSlide3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xml"/></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notesSlide" Target="../notesSlides/notesSlide3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notesSlide" Target="../notesSlides/notesSlide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xml"/></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notesSlide" Target="../notesSlides/notesSlide3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xml"/></Relationships>
</file>

<file path=ppt/slides/_rels/slide37.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Layout" Target="../slideLayouts/slideLayout7.xml"/><Relationship Id="rId3" Type="http://schemas.openxmlformats.org/officeDocument/2006/relationships/notesSlide" Target="../notesSlides/notesSlide3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xml"/></Relationships>
</file>

<file path=ppt/slides/_rels/slide38.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Layout" Target="../slideLayouts/slideLayout7.xml"/><Relationship Id="rId3" Type="http://schemas.openxmlformats.org/officeDocument/2006/relationships/notesSlide" Target="../notesSlides/notesSlide3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8.xml"/></Relationships>
</file>

<file path=ppt/slides/_rels/slide39.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Layout" Target="../slideLayouts/slideLayout7.xml"/><Relationship Id="rId3" Type="http://schemas.openxmlformats.org/officeDocument/2006/relationships/notesSlide" Target="../notesSlides/notesSlide3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9.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xml"/></Relationships>
</file>

<file path=ppt/slides/_rels/slide40.xml.rels><?xml version='1.0' encoding='UTF-8' standalone='yes'?>
<Relationships xmlns="http://schemas.openxmlformats.org/package/2006/relationships"><Relationship Id="rId1" Type="http://schemas.openxmlformats.org/officeDocument/2006/relationships/tags" Target="../tags/tag67.xml"/><Relationship Id="rId2" Type="http://schemas.openxmlformats.org/officeDocument/2006/relationships/slideLayout" Target="../slideLayouts/slideLayout7.xml"/><Relationship Id="rId3" Type="http://schemas.openxmlformats.org/officeDocument/2006/relationships/notesSlide" Target="../notesSlides/notesSlide4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0.xml"/></Relationships>
</file>

<file path=ppt/slides/_rels/slide41.xml.rels><?xml version='1.0' encoding='UTF-8' standalone='yes'?>
<Relationships xmlns="http://schemas.openxmlformats.org/package/2006/relationships"><Relationship Id="rId1" Type="http://schemas.openxmlformats.org/officeDocument/2006/relationships/tags" Target="../tags/tag68.xml"/><Relationship Id="rId2" Type="http://schemas.openxmlformats.org/officeDocument/2006/relationships/slideLayout" Target="../slideLayouts/slideLayout7.xml"/><Relationship Id="rId3" Type="http://schemas.openxmlformats.org/officeDocument/2006/relationships/notesSlide" Target="../notesSlides/notesSlide4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1.xml"/></Relationships>
</file>

<file path=ppt/slides/_rels/slide42.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slideLayout" Target="../slideLayouts/slideLayout7.xml"/><Relationship Id="rId3" Type="http://schemas.openxmlformats.org/officeDocument/2006/relationships/notesSlide" Target="../notesSlides/notesSlide4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2.xml"/></Relationships>
</file>

<file path=ppt/slides/_rels/slide43.xml.rels><?xml version='1.0' encoding='UTF-8' standalone='yes'?>
<Relationships xmlns="http://schemas.openxmlformats.org/package/2006/relationships"><Relationship Id="rId1" Type="http://schemas.openxmlformats.org/officeDocument/2006/relationships/tags" Target="../tags/tag70.xml"/><Relationship Id="rId2" Type="http://schemas.openxmlformats.org/officeDocument/2006/relationships/slideLayout" Target="../slideLayouts/slideLayout7.xml"/><Relationship Id="rId3" Type="http://schemas.openxmlformats.org/officeDocument/2006/relationships/notesSlide" Target="../notesSlides/notesSlide4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3.xml"/></Relationships>
</file>

<file path=ppt/slides/_rels/slide44.xml.rels><?xml version='1.0' encoding='UTF-8' standalone='yes'?>
<Relationships xmlns="http://schemas.openxmlformats.org/package/2006/relationships"><Relationship Id="rId1" Type="http://schemas.openxmlformats.org/officeDocument/2006/relationships/tags" Target="../tags/tag71.xml"/><Relationship Id="rId2" Type="http://schemas.openxmlformats.org/officeDocument/2006/relationships/slideLayout" Target="../slideLayouts/slideLayout7.xml"/><Relationship Id="rId3" Type="http://schemas.openxmlformats.org/officeDocument/2006/relationships/notesSlide" Target="../notesSlides/notesSlide4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4.xml"/></Relationships>
</file>

<file path=ppt/slides/_rels/slide45.xml.rels><?xml version='1.0' encoding='UTF-8' standalone='yes'?>
<Relationships xmlns="http://schemas.openxmlformats.org/package/2006/relationships"><Relationship Id="rId1" Type="http://schemas.openxmlformats.org/officeDocument/2006/relationships/tags" Target="../tags/tag72.xml"/><Relationship Id="rId2" Type="http://schemas.openxmlformats.org/officeDocument/2006/relationships/slideLayout" Target="../slideLayouts/slideLayout7.xml"/><Relationship Id="rId3" Type="http://schemas.openxmlformats.org/officeDocument/2006/relationships/notesSlide" Target="../notesSlides/notesSlide4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5.xml"/></Relationships>
</file>

<file path=ppt/slides/_rels/slide46.xml.rels><?xml version='1.0' encoding='UTF-8' standalone='yes'?>
<Relationships xmlns="http://schemas.openxmlformats.org/package/2006/relationships"><Relationship Id="rId1" Type="http://schemas.openxmlformats.org/officeDocument/2006/relationships/tags" Target="../tags/tag73.xml"/><Relationship Id="rId2" Type="http://schemas.openxmlformats.org/officeDocument/2006/relationships/slideLayout" Target="../slideLayouts/slideLayout7.xml"/><Relationship Id="rId3" Type="http://schemas.openxmlformats.org/officeDocument/2006/relationships/notesSlide" Target="../notesSlides/notesSlide4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6.xml"/></Relationships>
</file>

<file path=ppt/slides/_rels/slide47.xml.rels><?xml version='1.0' encoding='UTF-8' standalone='yes'?>
<Relationships xmlns="http://schemas.openxmlformats.org/package/2006/relationships"><Relationship Id="rId1" Type="http://schemas.openxmlformats.org/officeDocument/2006/relationships/tags" Target="../tags/tag74.xml"/><Relationship Id="rId2" Type="http://schemas.openxmlformats.org/officeDocument/2006/relationships/slideLayout" Target="../slideLayouts/slideLayout7.xml"/><Relationship Id="rId3" Type="http://schemas.openxmlformats.org/officeDocument/2006/relationships/notesSlide" Target="../notesSlides/notesSlide4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7.xml"/></Relationships>
</file>

<file path=ppt/slides/_rels/slide48.xml.rels><?xml version='1.0' encoding='UTF-8' standalone='yes'?>
<Relationships xmlns="http://schemas.openxmlformats.org/package/2006/relationships"><Relationship Id="rId1" Type="http://schemas.openxmlformats.org/officeDocument/2006/relationships/tags" Target="../tags/tag75.xml"/><Relationship Id="rId2" Type="http://schemas.openxmlformats.org/officeDocument/2006/relationships/slideLayout" Target="../slideLayouts/slideLayout7.xml"/><Relationship Id="rId3" Type="http://schemas.openxmlformats.org/officeDocument/2006/relationships/notesSlide" Target="../notesSlides/notesSlide4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8.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Bel vs. Competition | P3M | Total Fromage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Ingredient A Chaud</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4.5% | +37.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2.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5% | -3.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 | -4.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2776876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Kiri vs. Competition | P3M | Total Fromage | Intermarch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Ingredient A Chaud</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7.5%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1338279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La Vache Qui Rit vs. Competition | P3M | Total Fromage | Intermarch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Ingredient A Chaud</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7.5%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83436664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Boursin vs. Competition | P3M | Total Fromage | Intermarch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Ingredient A Chaud</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7.5%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5%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21775678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Bel vs. Competition | P3M | Total Fromage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Ingredient A Chaud</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4.5% | +37.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2.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5% | -3.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 | -4.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92985241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Bel vs. Competition | P3M | Total Fromage | Carrefou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2% | +46.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 | +2.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6%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3%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82985605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Bel vs. Competition | P3M | Total Fromage | Intermarch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Ingredient A Chaud</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7.5%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4% | -6.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7769844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Kiri vs. Competition | P3M | Total Fromage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Ingredient A Chaud</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4.5% | +37.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2.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0400912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La Vache Qui Rit vs. Competition | P3M | Total Fromage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Ingredient A Chaud</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4.5% | +37.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2.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5.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8208233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Boursin vs. Competition | P3M | Total Fromage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Ingredient A Chaud</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4.5% | +37.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2.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15995879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Kiri vs. Competition | P3M | Total Fromage | Carrefou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2% | +46.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 | +2.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1262608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Bel vs. Competition | P3M | Total Fromage | Carrefou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2% | +46.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 | +2.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6%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3%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3314599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La Vache Qui Rit vs. Competition | P3M | Total Fromage | Carrefou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2% | +46.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 | +2.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61826153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Boursin vs. Competition | P3M | Total Fromage | Carrefou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2% | +46.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 | +2.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25440818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Kiri vs. Competition | P3M | Total Fromage | Intermarch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Ingredient A Chaud</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7.5%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66892583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La Vache Qui Rit vs. Competition | P3M | Total Fromage | Intermarch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Ingredient A Chaud</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7.5%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14110394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Boursin vs. Competition | P3M | Total Fromage | Intermarch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Ingredient A Chaud</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7.5%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5%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91089513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Bel vs. Competition | P3M | Soft Cheese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2% | +15.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 | +5.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 | +3.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 | -2.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9%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54407640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Bel vs. Competition | P3M | Soft Cheese | Carrefou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3% | +18.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7% | +6.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4% | +4.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3%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3%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696029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Bel vs. Competition | P3M | Soft Cheese | Intermarch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2% | +2.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2% | -3.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6.5%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79930475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Kiri vs. Competition | P3M | Soft Cheese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2% | +15.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 | +5.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 | +3.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8840531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La Vache Qui Rit vs. Competition | P3M | Soft Cheese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2% | +15.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 | +5.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 | +3.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1%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23626958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Bel vs. Competition | P3M | Total Fromage | Intermarch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Ingredient A Chaud</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7.5%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2%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4% | -6.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9543750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Boursin vs. Competition | P3M | Soft Cheese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2% | +15.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 | +5.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 | +3.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3% | -2.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26998053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Kiri vs. Competition | P3M | Soft Cheese | Carrefou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3% | +18.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7% | +6.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4% | +4.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8% | +1.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63419908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La Vache Qui Rit vs. Competition | P3M | Soft Cheese | Carrefou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3% | +18.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7% | +6.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4% | +4.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9% | -2.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94903429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Boursin vs. Competition | P3M | Soft Cheese | Carrefou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3% | +18.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7% | +6.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4% | +4.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50667622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Kiri vs. Competition | P3M | Soft Cheese | Intermarch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2% | +2.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4%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70534086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La Vache Qui Rit vs. Competition | P3M | Soft Cheese | Intermarch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2% | +2.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0% | +2.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5593026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Boursin vs. Competition | P3M | Soft Cheese | Intermarch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2% | +2.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5% | -2.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27344070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Bel vs. Competition | P3M | Soft Cheese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2% | +15.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 | +5.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 | +3.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 | -2.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9%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23704130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Bel vs. Competition | P3M | Soft Cheese | Carrefou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3% | +18.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7% | +6.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4% | +4.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3%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3%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8802790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Bel vs. Competition | P3M | Soft Cheese | Intermarch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2% | +2.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2% | -3.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6.5%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82375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Kiri vs. Competition | P3M | Total Fromage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Ingredient A Chaud</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4.5% | +37.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2.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25297323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Kiri vs. Competition | P3M | Soft Cheese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2% | +15.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 | +5.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 | +3.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94324732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La Vache Qui Rit vs. Competition | P3M | Soft Cheese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2% | +15.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 | +5.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 | +3.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1%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35412062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Boursin vs. Competition | P3M | Soft Cheese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2% | +15.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 | +5.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 | +3.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3% | -2.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13526733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Kiri vs. Competition | P3M | Soft Cheese | Carrefou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3% | +18.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7% | +6.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4% | +4.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8% | +1.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15110349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La Vache Qui Rit vs. Competition | P3M | Soft Cheese | Carrefou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3% | +18.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7% | +6.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4% | +4.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9% | -2.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12619971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Boursin vs. Competition | P3M | Soft Cheese | Carrefou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3% | +18.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7% | +6.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4% | +4.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5431869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Kiri vs. Competition | P3M | Soft Cheese | Intermarch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2% | +2.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4%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6777882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La Vache Qui Rit vs. Competition | P3M | Soft Cheese | Intermarch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2% | +2.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0% | +2.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10453803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Boursin vs. Competition | P3M | Soft Cheese | Intermarch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2% | +2.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5% | -2.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54112259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La Vache Qui Rit vs. Competition | P3M | Total Fromage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Ingredient A Chaud</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4.5% | +37.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2.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5.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18666540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Boursin vs. Competition | P3M | Total Fromage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Ingredient A Chaud</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4.5% | +37.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2.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2420645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Kiri vs. Competition | P3M | Total Fromage | Carrefou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2% | +46.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 | +2.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8484254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La Vache Qui Rit vs. Competition | P3M | Total Fromage | Carrefou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2% | +46.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 | +2.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1164941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Boursin vs. Competition | P3M | Total Fromage | Carrefou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2% | +46.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 | +2.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9997918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Props1.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3.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0</TotalTime>
  <Words>4752</Words>
  <Application>Microsoft Office PowerPoint</Application>
  <PresentationFormat>On-screen Show (16:9)</PresentationFormat>
  <Paragraphs>1008</Paragraphs>
  <Slides>48</Slides>
  <Notes>48</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48</vt:i4>
      </vt:variant>
    </vt:vector>
  </HeadingPairs>
  <TitlesOfParts>
    <vt:vector size="58"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Aleaa SALAH</cp:lastModifiedBy>
  <cp:revision>55</cp:revision>
  <dcterms:created xsi:type="dcterms:W3CDTF">2024-07-05T14:56:51Z</dcterms:created>
  <dcterms:modified xsi:type="dcterms:W3CDTF">2025-09-09T10:00: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